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5.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6.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7.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8.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9.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10.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11.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12.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13.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14.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15.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16.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17.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18.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19.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notesSlides/notesSlide20.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2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23"/>
  </p:notesMasterIdLst>
  <p:handoutMasterIdLst>
    <p:handoutMasterId r:id="rId24"/>
  </p:handoutMasterIdLst>
  <p:sldIdLst>
    <p:sldId id="256" r:id="rId2"/>
    <p:sldId id="588" r:id="rId3"/>
    <p:sldId id="575" r:id="rId4"/>
    <p:sldId id="579" r:id="rId5"/>
    <p:sldId id="580" r:id="rId6"/>
    <p:sldId id="581" r:id="rId7"/>
    <p:sldId id="582" r:id="rId8"/>
    <p:sldId id="539" r:id="rId9"/>
    <p:sldId id="569" r:id="rId10"/>
    <p:sldId id="570" r:id="rId11"/>
    <p:sldId id="562" r:id="rId12"/>
    <p:sldId id="572" r:id="rId13"/>
    <p:sldId id="563" r:id="rId14"/>
    <p:sldId id="592" r:id="rId15"/>
    <p:sldId id="593" r:id="rId16"/>
    <p:sldId id="565" r:id="rId17"/>
    <p:sldId id="585" r:id="rId18"/>
    <p:sldId id="590" r:id="rId19"/>
    <p:sldId id="586" r:id="rId20"/>
    <p:sldId id="587" r:id="rId21"/>
    <p:sldId id="591" r:id="rId22"/>
  </p:sldIdLst>
  <p:sldSz cx="12192000" cy="6858000"/>
  <p:notesSz cx="6858000" cy="9144000"/>
  <p:defaultTextStyle>
    <a:defPPr>
      <a:defRPr lang="nb-NO"/>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1509E"/>
    <a:srgbClr val="DCE6F2"/>
    <a:srgbClr val="E9EDF4"/>
    <a:srgbClr val="D0D8E8"/>
    <a:srgbClr val="01509F"/>
    <a:srgbClr val="668DB2"/>
    <a:srgbClr val="1F497D"/>
    <a:srgbClr val="FF6600"/>
    <a:srgbClr val="FFFF66"/>
    <a:srgbClr val="FFCCFF"/>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0E5CDF1-562D-4874-8C20-2EC47FA2ECB3}" v="65" dt="2022-09-05T10:21:14.433"/>
  </p1510:revLst>
</p1510:revInfo>
</file>

<file path=ppt/tableStyles.xml><?xml version="1.0" encoding="utf-8"?>
<a:tblStyleLst xmlns:a="http://schemas.openxmlformats.org/drawingml/2006/main" def="{5C22544A-7EE6-4342-B048-85BDC9FD1C3A}">
  <a:tblStyle styleId="{5C22544A-7EE6-4342-B048-85BDC9FD1C3A}" styleName="Middels stil 2 – uthev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AF606853-7671-496A-8E4F-DF71F8EC918B}" styleName="Mørk stil 1 – utheving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3B4B98B0-60AC-42C2-AFA5-B58CD77FA1E5}" styleName="Lys stil 1 – utheving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940675A-B579-460E-94D1-54222C63F5DA}" styleName="Ingen stil, tabellrutenett">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BC89EF96-8CEA-46FF-86C4-4CE0E7609802}" styleName="Lys stil 3 – utheving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032" autoAdjust="0"/>
    <p:restoredTop sz="72033" autoAdjust="0"/>
  </p:normalViewPr>
  <p:slideViewPr>
    <p:cSldViewPr snapToGrid="0" snapToObjects="1">
      <p:cViewPr varScale="1">
        <p:scale>
          <a:sx n="48" d="100"/>
          <a:sy n="48" d="100"/>
        </p:scale>
        <p:origin x="1284" y="32"/>
      </p:cViewPr>
      <p:guideLst>
        <p:guide orient="horz" pos="2160"/>
        <p:guide pos="384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heme" Target="theme/theme1.xml"/><Relationship Id="rId30"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ars Ivar Hatledal" userId="da83bdda-499a-4427-8775-f375be339a54" providerId="ADAL" clId="{C2E921CA-5E49-4525-A81D-845641F205D3}"/>
    <pc:docChg chg="modSld">
      <pc:chgData name="Lars Ivar Hatledal" userId="da83bdda-499a-4427-8775-f375be339a54" providerId="ADAL" clId="{C2E921CA-5E49-4525-A81D-845641F205D3}" dt="2021-03-19T11:25:11.687" v="13" actId="20577"/>
      <pc:docMkLst>
        <pc:docMk/>
      </pc:docMkLst>
      <pc:sldChg chg="modNotesTx">
        <pc:chgData name="Lars Ivar Hatledal" userId="da83bdda-499a-4427-8775-f375be339a54" providerId="ADAL" clId="{C2E921CA-5E49-4525-A81D-845641F205D3}" dt="2021-03-19T11:25:11.687" v="13" actId="20577"/>
        <pc:sldMkLst>
          <pc:docMk/>
          <pc:sldMk cId="2782561695" sldId="370"/>
        </pc:sldMkLst>
      </pc:sldChg>
    </pc:docChg>
  </pc:docChgLst>
  <pc:docChgLst>
    <pc:chgData name="Lars Ivar Hatledal" userId="da83bdda-499a-4427-8775-f375be339a54" providerId="ADAL" clId="{D4F7D428-4D3F-4D7F-A708-D669671558DA}"/>
    <pc:docChg chg="undo custSel mod addSld delSld modSld sldOrd">
      <pc:chgData name="Lars Ivar Hatledal" userId="da83bdda-499a-4427-8775-f375be339a54" providerId="ADAL" clId="{D4F7D428-4D3F-4D7F-A708-D669671558DA}" dt="2021-03-18T23:38:58.272" v="31032" actId="20577"/>
      <pc:docMkLst>
        <pc:docMk/>
      </pc:docMkLst>
      <pc:sldChg chg="modSp mod modNotesTx">
        <pc:chgData name="Lars Ivar Hatledal" userId="da83bdda-499a-4427-8775-f375be339a54" providerId="ADAL" clId="{D4F7D428-4D3F-4D7F-A708-D669671558DA}" dt="2021-03-18T20:22:41.127" v="26424" actId="20577"/>
        <pc:sldMkLst>
          <pc:docMk/>
          <pc:sldMk cId="3243102052" sldId="256"/>
        </pc:sldMkLst>
        <pc:spChg chg="mod">
          <ac:chgData name="Lars Ivar Hatledal" userId="da83bdda-499a-4427-8775-f375be339a54" providerId="ADAL" clId="{D4F7D428-4D3F-4D7F-A708-D669671558DA}" dt="2021-03-15T16:46:46.726" v="14819" actId="20577"/>
          <ac:spMkLst>
            <pc:docMk/>
            <pc:sldMk cId="3243102052" sldId="256"/>
            <ac:spMk id="2" creationId="{00000000-0000-0000-0000-000000000000}"/>
          </ac:spMkLst>
        </pc:spChg>
        <pc:spChg chg="mod">
          <ac:chgData name="Lars Ivar Hatledal" userId="da83bdda-499a-4427-8775-f375be339a54" providerId="ADAL" clId="{D4F7D428-4D3F-4D7F-A708-D669671558DA}" dt="2021-03-05T08:02:20.469" v="17" actId="20577"/>
          <ac:spMkLst>
            <pc:docMk/>
            <pc:sldMk cId="3243102052" sldId="256"/>
            <ac:spMk id="3" creationId="{00000000-0000-0000-0000-000000000000}"/>
          </ac:spMkLst>
        </pc:spChg>
        <pc:spChg chg="mod">
          <ac:chgData name="Lars Ivar Hatledal" userId="da83bdda-499a-4427-8775-f375be339a54" providerId="ADAL" clId="{D4F7D428-4D3F-4D7F-A708-D669671558DA}" dt="2021-03-05T08:02:40.068" v="25" actId="20577"/>
          <ac:spMkLst>
            <pc:docMk/>
            <pc:sldMk cId="3243102052" sldId="256"/>
            <ac:spMk id="9" creationId="{00000000-0000-0000-0000-000000000000}"/>
          </ac:spMkLst>
        </pc:spChg>
      </pc:sldChg>
      <pc:sldChg chg="addSp delSp modSp add del mod modNotesTx">
        <pc:chgData name="Lars Ivar Hatledal" userId="da83bdda-499a-4427-8775-f375be339a54" providerId="ADAL" clId="{D4F7D428-4D3F-4D7F-A708-D669671558DA}" dt="2021-03-18T21:36:34.531" v="27294" actId="20577"/>
        <pc:sldMkLst>
          <pc:docMk/>
          <pc:sldMk cId="2782561695" sldId="370"/>
        </pc:sldMkLst>
        <pc:spChg chg="mod">
          <ac:chgData name="Lars Ivar Hatledal" userId="da83bdda-499a-4427-8775-f375be339a54" providerId="ADAL" clId="{D4F7D428-4D3F-4D7F-A708-D669671558DA}" dt="2021-03-18T21:33:48.860" v="26967" actId="20577"/>
          <ac:spMkLst>
            <pc:docMk/>
            <pc:sldMk cId="2782561695" sldId="370"/>
            <ac:spMk id="7" creationId="{63991A79-2DF5-4987-8986-F8B6237BF2C9}"/>
          </ac:spMkLst>
        </pc:spChg>
        <pc:spChg chg="add del mod">
          <ac:chgData name="Lars Ivar Hatledal" userId="da83bdda-499a-4427-8775-f375be339a54" providerId="ADAL" clId="{D4F7D428-4D3F-4D7F-A708-D669671558DA}" dt="2021-03-14T17:47:24.444" v="13089"/>
          <ac:spMkLst>
            <pc:docMk/>
            <pc:sldMk cId="2782561695" sldId="370"/>
            <ac:spMk id="23" creationId="{1D74FFDE-66B5-479D-A5A1-F660811BFA5F}"/>
          </ac:spMkLst>
        </pc:spChg>
        <pc:spChg chg="add del mod">
          <ac:chgData name="Lars Ivar Hatledal" userId="da83bdda-499a-4427-8775-f375be339a54" providerId="ADAL" clId="{D4F7D428-4D3F-4D7F-A708-D669671558DA}" dt="2021-03-14T17:49:58.275" v="13137"/>
          <ac:spMkLst>
            <pc:docMk/>
            <pc:sldMk cId="2782561695" sldId="370"/>
            <ac:spMk id="24" creationId="{00DF7614-DE08-4D67-A3AE-D4FBA770B0D5}"/>
          </ac:spMkLst>
        </pc:spChg>
        <pc:spChg chg="mod">
          <ac:chgData name="Lars Ivar Hatledal" userId="da83bdda-499a-4427-8775-f375be339a54" providerId="ADAL" clId="{D4F7D428-4D3F-4D7F-A708-D669671558DA}" dt="2021-03-14T18:00:49.455" v="13337"/>
          <ac:spMkLst>
            <pc:docMk/>
            <pc:sldMk cId="2782561695" sldId="370"/>
            <ac:spMk id="31" creationId="{38B759F3-AD5F-4C6D-9306-39E5D8AE2623}"/>
          </ac:spMkLst>
        </pc:spChg>
        <pc:spChg chg="mod">
          <ac:chgData name="Lars Ivar Hatledal" userId="da83bdda-499a-4427-8775-f375be339a54" providerId="ADAL" clId="{D4F7D428-4D3F-4D7F-A708-D669671558DA}" dt="2021-03-14T18:00:49.455" v="13337"/>
          <ac:spMkLst>
            <pc:docMk/>
            <pc:sldMk cId="2782561695" sldId="370"/>
            <ac:spMk id="32" creationId="{DA84EAEB-B9D7-4830-A805-D88C532EF6A7}"/>
          </ac:spMkLst>
        </pc:spChg>
        <pc:spChg chg="mod">
          <ac:chgData name="Lars Ivar Hatledal" userId="da83bdda-499a-4427-8775-f375be339a54" providerId="ADAL" clId="{D4F7D428-4D3F-4D7F-A708-D669671558DA}" dt="2021-03-14T18:00:49.455" v="13337"/>
          <ac:spMkLst>
            <pc:docMk/>
            <pc:sldMk cId="2782561695" sldId="370"/>
            <ac:spMk id="33" creationId="{39A10EF6-2F3D-46D3-8C56-09C351D18AD6}"/>
          </ac:spMkLst>
        </pc:spChg>
        <pc:spChg chg="mod">
          <ac:chgData name="Lars Ivar Hatledal" userId="da83bdda-499a-4427-8775-f375be339a54" providerId="ADAL" clId="{D4F7D428-4D3F-4D7F-A708-D669671558DA}" dt="2021-03-14T18:00:49.455" v="13337"/>
          <ac:spMkLst>
            <pc:docMk/>
            <pc:sldMk cId="2782561695" sldId="370"/>
            <ac:spMk id="34" creationId="{C4C6AEE9-E782-43C4-A5D8-266AE4B60E22}"/>
          </ac:spMkLst>
        </pc:spChg>
        <pc:spChg chg="mod">
          <ac:chgData name="Lars Ivar Hatledal" userId="da83bdda-499a-4427-8775-f375be339a54" providerId="ADAL" clId="{D4F7D428-4D3F-4D7F-A708-D669671558DA}" dt="2021-03-14T17:49:56.765" v="13133" actId="14100"/>
          <ac:spMkLst>
            <pc:docMk/>
            <pc:sldMk cId="2782561695" sldId="370"/>
            <ac:spMk id="36" creationId="{6F99B793-784F-46D5-83A0-9D2A45641474}"/>
          </ac:spMkLst>
        </pc:spChg>
        <pc:spChg chg="add del mod">
          <ac:chgData name="Lars Ivar Hatledal" userId="da83bdda-499a-4427-8775-f375be339a54" providerId="ADAL" clId="{D4F7D428-4D3F-4D7F-A708-D669671558DA}" dt="2021-03-14T17:49:55.468" v="13129" actId="478"/>
          <ac:spMkLst>
            <pc:docMk/>
            <pc:sldMk cId="2782561695" sldId="370"/>
            <ac:spMk id="37" creationId="{16818D75-53C0-4C04-94F5-C0FB15B1D4FE}"/>
          </ac:spMkLst>
        </pc:spChg>
        <pc:spChg chg="mod">
          <ac:chgData name="Lars Ivar Hatledal" userId="da83bdda-499a-4427-8775-f375be339a54" providerId="ADAL" clId="{D4F7D428-4D3F-4D7F-A708-D669671558DA}" dt="2021-03-14T17:49:43.960" v="13125" actId="14100"/>
          <ac:spMkLst>
            <pc:docMk/>
            <pc:sldMk cId="2782561695" sldId="370"/>
            <ac:spMk id="38" creationId="{D438CB74-19C4-4A30-9F68-B949AE7FFDDD}"/>
          </ac:spMkLst>
        </pc:spChg>
        <pc:spChg chg="del">
          <ac:chgData name="Lars Ivar Hatledal" userId="da83bdda-499a-4427-8775-f375be339a54" providerId="ADAL" clId="{D4F7D428-4D3F-4D7F-A708-D669671558DA}" dt="2021-03-14T17:45:34.187" v="12729" actId="478"/>
          <ac:spMkLst>
            <pc:docMk/>
            <pc:sldMk cId="2782561695" sldId="370"/>
            <ac:spMk id="39" creationId="{1EB73FE3-4603-4A73-BAD5-7F63AD2D6F92}"/>
          </ac:spMkLst>
        </pc:spChg>
        <pc:spChg chg="mod">
          <ac:chgData name="Lars Ivar Hatledal" userId="da83bdda-499a-4427-8775-f375be339a54" providerId="ADAL" clId="{D4F7D428-4D3F-4D7F-A708-D669671558DA}" dt="2021-03-14T17:46:40.711" v="12984" actId="1038"/>
          <ac:spMkLst>
            <pc:docMk/>
            <pc:sldMk cId="2782561695" sldId="370"/>
            <ac:spMk id="40" creationId="{EF96A3EE-9BBA-433E-9BE0-5FFB20DA4B05}"/>
          </ac:spMkLst>
        </pc:spChg>
        <pc:spChg chg="mod">
          <ac:chgData name="Lars Ivar Hatledal" userId="da83bdda-499a-4427-8775-f375be339a54" providerId="ADAL" clId="{D4F7D428-4D3F-4D7F-A708-D669671558DA}" dt="2021-03-14T17:46:40.711" v="12984" actId="1038"/>
          <ac:spMkLst>
            <pc:docMk/>
            <pc:sldMk cId="2782561695" sldId="370"/>
            <ac:spMk id="41" creationId="{B17079CF-C206-4A5E-A387-5F1E0D0758D5}"/>
          </ac:spMkLst>
        </pc:spChg>
        <pc:spChg chg="mod">
          <ac:chgData name="Lars Ivar Hatledal" userId="da83bdda-499a-4427-8775-f375be339a54" providerId="ADAL" clId="{D4F7D428-4D3F-4D7F-A708-D669671558DA}" dt="2021-03-09T10:22:02.500" v="1065" actId="207"/>
          <ac:spMkLst>
            <pc:docMk/>
            <pc:sldMk cId="2782561695" sldId="370"/>
            <ac:spMk id="45" creationId="{ABE05CC7-87A9-4E18-AEA7-3CFE48FBF726}"/>
          </ac:spMkLst>
        </pc:spChg>
        <pc:spChg chg="mod">
          <ac:chgData name="Lars Ivar Hatledal" userId="da83bdda-499a-4427-8775-f375be339a54" providerId="ADAL" clId="{D4F7D428-4D3F-4D7F-A708-D669671558DA}" dt="2021-03-14T17:49:57.079" v="13134" actId="20577"/>
          <ac:spMkLst>
            <pc:docMk/>
            <pc:sldMk cId="2782561695" sldId="370"/>
            <ac:spMk id="47" creationId="{5DDCFE5C-48E4-4714-AB18-837FA0F59CDE}"/>
          </ac:spMkLst>
        </pc:spChg>
        <pc:spChg chg="add del mod">
          <ac:chgData name="Lars Ivar Hatledal" userId="da83bdda-499a-4427-8775-f375be339a54" providerId="ADAL" clId="{D4F7D428-4D3F-4D7F-A708-D669671558DA}" dt="2021-03-14T17:50:00.429" v="13140" actId="1035"/>
          <ac:spMkLst>
            <pc:docMk/>
            <pc:sldMk cId="2782561695" sldId="370"/>
            <ac:spMk id="49" creationId="{72B45AB8-F945-4010-A461-9C574FD7D044}"/>
          </ac:spMkLst>
        </pc:spChg>
        <pc:spChg chg="mod">
          <ac:chgData name="Lars Ivar Hatledal" userId="da83bdda-499a-4427-8775-f375be339a54" providerId="ADAL" clId="{D4F7D428-4D3F-4D7F-A708-D669671558DA}" dt="2021-03-14T17:50:00.429" v="13140" actId="1035"/>
          <ac:spMkLst>
            <pc:docMk/>
            <pc:sldMk cId="2782561695" sldId="370"/>
            <ac:spMk id="50" creationId="{18D4B673-BD15-4897-9B29-A2CC2C774ECF}"/>
          </ac:spMkLst>
        </pc:spChg>
        <pc:spChg chg="mod">
          <ac:chgData name="Lars Ivar Hatledal" userId="da83bdda-499a-4427-8775-f375be339a54" providerId="ADAL" clId="{D4F7D428-4D3F-4D7F-A708-D669671558DA}" dt="2021-03-14T17:50:00.429" v="13140" actId="1035"/>
          <ac:spMkLst>
            <pc:docMk/>
            <pc:sldMk cId="2782561695" sldId="370"/>
            <ac:spMk id="51" creationId="{AE0F77BB-E389-4858-AA50-B3F9B02A2082}"/>
          </ac:spMkLst>
        </pc:spChg>
        <pc:spChg chg="del mod">
          <ac:chgData name="Lars Ivar Hatledal" userId="da83bdda-499a-4427-8775-f375be339a54" providerId="ADAL" clId="{D4F7D428-4D3F-4D7F-A708-D669671558DA}" dt="2021-03-14T17:45:30.576" v="12728" actId="478"/>
          <ac:spMkLst>
            <pc:docMk/>
            <pc:sldMk cId="2782561695" sldId="370"/>
            <ac:spMk id="52" creationId="{C345B0D7-8AE7-4B36-8D59-8C0643B686CD}"/>
          </ac:spMkLst>
        </pc:spChg>
        <pc:spChg chg="mod">
          <ac:chgData name="Lars Ivar Hatledal" userId="da83bdda-499a-4427-8775-f375be339a54" providerId="ADAL" clId="{D4F7D428-4D3F-4D7F-A708-D669671558DA}" dt="2021-03-14T18:00:49.455" v="13337"/>
          <ac:spMkLst>
            <pc:docMk/>
            <pc:sldMk cId="2782561695" sldId="370"/>
            <ac:spMk id="53" creationId="{83FEBF67-8150-4C07-AA16-97BE081ED4DA}"/>
          </ac:spMkLst>
        </pc:spChg>
        <pc:spChg chg="mod">
          <ac:chgData name="Lars Ivar Hatledal" userId="da83bdda-499a-4427-8775-f375be339a54" providerId="ADAL" clId="{D4F7D428-4D3F-4D7F-A708-D669671558DA}" dt="2021-03-14T18:00:49.455" v="13337"/>
          <ac:spMkLst>
            <pc:docMk/>
            <pc:sldMk cId="2782561695" sldId="370"/>
            <ac:spMk id="54" creationId="{3FE7DB1F-3E15-4EBF-8A87-B30A8C180091}"/>
          </ac:spMkLst>
        </pc:spChg>
        <pc:spChg chg="mod">
          <ac:chgData name="Lars Ivar Hatledal" userId="da83bdda-499a-4427-8775-f375be339a54" providerId="ADAL" clId="{D4F7D428-4D3F-4D7F-A708-D669671558DA}" dt="2021-03-14T18:00:49.455" v="13337"/>
          <ac:spMkLst>
            <pc:docMk/>
            <pc:sldMk cId="2782561695" sldId="370"/>
            <ac:spMk id="55" creationId="{9A8D9B27-870B-4246-AD5E-1853F0C76085}"/>
          </ac:spMkLst>
        </pc:spChg>
        <pc:spChg chg="mod">
          <ac:chgData name="Lars Ivar Hatledal" userId="da83bdda-499a-4427-8775-f375be339a54" providerId="ADAL" clId="{D4F7D428-4D3F-4D7F-A708-D669671558DA}" dt="2021-03-14T18:00:59.558" v="13360" actId="20577"/>
          <ac:spMkLst>
            <pc:docMk/>
            <pc:sldMk cId="2782561695" sldId="370"/>
            <ac:spMk id="56" creationId="{DA7A967B-C27A-4984-A3FC-0EFF6F3295E6}"/>
          </ac:spMkLst>
        </pc:spChg>
        <pc:spChg chg="mod">
          <ac:chgData name="Lars Ivar Hatledal" userId="da83bdda-499a-4427-8775-f375be339a54" providerId="ADAL" clId="{D4F7D428-4D3F-4D7F-A708-D669671558DA}" dt="2021-03-14T18:00:49.455" v="13337"/>
          <ac:spMkLst>
            <pc:docMk/>
            <pc:sldMk cId="2782561695" sldId="370"/>
            <ac:spMk id="57" creationId="{FDD202EE-EB23-430A-B980-8670C233BD25}"/>
          </ac:spMkLst>
        </pc:spChg>
        <pc:spChg chg="mod">
          <ac:chgData name="Lars Ivar Hatledal" userId="da83bdda-499a-4427-8775-f375be339a54" providerId="ADAL" clId="{D4F7D428-4D3F-4D7F-A708-D669671558DA}" dt="2021-03-14T18:00:49.455" v="13337"/>
          <ac:spMkLst>
            <pc:docMk/>
            <pc:sldMk cId="2782561695" sldId="370"/>
            <ac:spMk id="58" creationId="{F4601279-1377-4437-A588-2C8044ABE9D2}"/>
          </ac:spMkLst>
        </pc:spChg>
        <pc:grpChg chg="del mod">
          <ac:chgData name="Lars Ivar Hatledal" userId="da83bdda-499a-4427-8775-f375be339a54" providerId="ADAL" clId="{D4F7D428-4D3F-4D7F-A708-D669671558DA}" dt="2021-03-14T17:50:10.458" v="13141" actId="478"/>
          <ac:grpSpMkLst>
            <pc:docMk/>
            <pc:sldMk cId="2782561695" sldId="370"/>
            <ac:grpSpMk id="2" creationId="{FB0E3E3F-4D6E-4365-B8D1-477E1C1440EC}"/>
          </ac:grpSpMkLst>
        </pc:grpChg>
        <pc:grpChg chg="add mod">
          <ac:chgData name="Lars Ivar Hatledal" userId="da83bdda-499a-4427-8775-f375be339a54" providerId="ADAL" clId="{D4F7D428-4D3F-4D7F-A708-D669671558DA}" dt="2021-03-14T18:00:49.455" v="13337"/>
          <ac:grpSpMkLst>
            <pc:docMk/>
            <pc:sldMk cId="2782561695" sldId="370"/>
            <ac:grpSpMk id="25" creationId="{8BFFBAAA-E47D-4942-9D4E-17B0DA5F7782}"/>
          </ac:grpSpMkLst>
        </pc:grpChg>
        <pc:grpChg chg="mod">
          <ac:chgData name="Lars Ivar Hatledal" userId="da83bdda-499a-4427-8775-f375be339a54" providerId="ADAL" clId="{D4F7D428-4D3F-4D7F-A708-D669671558DA}" dt="2021-03-14T18:00:49.455" v="13337"/>
          <ac:grpSpMkLst>
            <pc:docMk/>
            <pc:sldMk cId="2782561695" sldId="370"/>
            <ac:grpSpMk id="26" creationId="{756C8135-198D-4637-8709-F3796AA1308B}"/>
          </ac:grpSpMkLst>
        </pc:grpChg>
        <pc:grpChg chg="mod">
          <ac:chgData name="Lars Ivar Hatledal" userId="da83bdda-499a-4427-8775-f375be339a54" providerId="ADAL" clId="{D4F7D428-4D3F-4D7F-A708-D669671558DA}" dt="2021-03-14T18:00:49.455" v="13337"/>
          <ac:grpSpMkLst>
            <pc:docMk/>
            <pc:sldMk cId="2782561695" sldId="370"/>
            <ac:grpSpMk id="27" creationId="{DB0B5BD5-76C0-455B-A07C-B34904EFF50B}"/>
          </ac:grpSpMkLst>
        </pc:grpChg>
        <pc:grpChg chg="mod">
          <ac:chgData name="Lars Ivar Hatledal" userId="da83bdda-499a-4427-8775-f375be339a54" providerId="ADAL" clId="{D4F7D428-4D3F-4D7F-A708-D669671558DA}" dt="2021-03-14T18:00:49.455" v="13337"/>
          <ac:grpSpMkLst>
            <pc:docMk/>
            <pc:sldMk cId="2782561695" sldId="370"/>
            <ac:grpSpMk id="28" creationId="{1A0FFAAD-63E9-4ABA-81F6-8D606B2694DC}"/>
          </ac:grpSpMkLst>
        </pc:grpChg>
        <pc:grpChg chg="mod">
          <ac:chgData name="Lars Ivar Hatledal" userId="da83bdda-499a-4427-8775-f375be339a54" providerId="ADAL" clId="{D4F7D428-4D3F-4D7F-A708-D669671558DA}" dt="2021-03-14T18:00:49.455" v="13337"/>
          <ac:grpSpMkLst>
            <pc:docMk/>
            <pc:sldMk cId="2782561695" sldId="370"/>
            <ac:grpSpMk id="29" creationId="{A12170CC-4D61-4C52-9D42-25164E515027}"/>
          </ac:grpSpMkLst>
        </pc:grpChg>
        <pc:grpChg chg="mod">
          <ac:chgData name="Lars Ivar Hatledal" userId="da83bdda-499a-4427-8775-f375be339a54" providerId="ADAL" clId="{D4F7D428-4D3F-4D7F-A708-D669671558DA}" dt="2021-03-14T18:00:49.455" v="13337"/>
          <ac:grpSpMkLst>
            <pc:docMk/>
            <pc:sldMk cId="2782561695" sldId="370"/>
            <ac:grpSpMk id="30" creationId="{FE8AD115-0415-447D-B84E-98A7533D7B7D}"/>
          </ac:grpSpMkLst>
        </pc:grpChg>
        <pc:graphicFrameChg chg="add del mod">
          <ac:chgData name="Lars Ivar Hatledal" userId="da83bdda-499a-4427-8775-f375be339a54" providerId="ADAL" clId="{D4F7D428-4D3F-4D7F-A708-D669671558DA}" dt="2021-03-13T15:54:41.949" v="5581" actId="21"/>
          <ac:graphicFrameMkLst>
            <pc:docMk/>
            <pc:sldMk cId="2782561695" sldId="370"/>
            <ac:graphicFrameMk id="3" creationId="{0C9EBEF5-F278-40CB-A54A-DD7799DD8D3A}"/>
          </ac:graphicFrameMkLst>
        </pc:graphicFrameChg>
      </pc:sldChg>
      <pc:sldChg chg="delSp modSp add del mod modNotesTx">
        <pc:chgData name="Lars Ivar Hatledal" userId="da83bdda-499a-4427-8775-f375be339a54" providerId="ADAL" clId="{D4F7D428-4D3F-4D7F-A708-D669671558DA}" dt="2021-03-09T10:11:32.074" v="1022" actId="47"/>
        <pc:sldMkLst>
          <pc:docMk/>
          <pc:sldMk cId="569333293" sldId="373"/>
        </pc:sldMkLst>
        <pc:spChg chg="mod">
          <ac:chgData name="Lars Ivar Hatledal" userId="da83bdda-499a-4427-8775-f375be339a54" providerId="ADAL" clId="{D4F7D428-4D3F-4D7F-A708-D669671558DA}" dt="2021-03-05T08:08:18.107" v="182" actId="27636"/>
          <ac:spMkLst>
            <pc:docMk/>
            <pc:sldMk cId="569333293" sldId="373"/>
            <ac:spMk id="8" creationId="{2018BD0F-E9F7-4AED-BF79-B2F084BD0D18}"/>
          </ac:spMkLst>
        </pc:spChg>
        <pc:spChg chg="mod">
          <ac:chgData name="Lars Ivar Hatledal" userId="da83bdda-499a-4427-8775-f375be339a54" providerId="ADAL" clId="{D4F7D428-4D3F-4D7F-A708-D669671558DA}" dt="2021-03-05T08:08:30.617" v="196" actId="20577"/>
          <ac:spMkLst>
            <pc:docMk/>
            <pc:sldMk cId="569333293" sldId="373"/>
            <ac:spMk id="45" creationId="{ABE05CC7-87A9-4E18-AEA7-3CFE48FBF726}"/>
          </ac:spMkLst>
        </pc:spChg>
        <pc:spChg chg="mod">
          <ac:chgData name="Lars Ivar Hatledal" userId="da83bdda-499a-4427-8775-f375be339a54" providerId="ADAL" clId="{D4F7D428-4D3F-4D7F-A708-D669671558DA}" dt="2021-03-05T08:08:19.717" v="183" actId="20577"/>
          <ac:spMkLst>
            <pc:docMk/>
            <pc:sldMk cId="569333293" sldId="373"/>
            <ac:spMk id="63" creationId="{322B30BC-B68F-4A2F-9669-C9958BFB7990}"/>
          </ac:spMkLst>
        </pc:spChg>
        <pc:grpChg chg="del">
          <ac:chgData name="Lars Ivar Hatledal" userId="da83bdda-499a-4427-8775-f375be339a54" providerId="ADAL" clId="{D4F7D428-4D3F-4D7F-A708-D669671558DA}" dt="2021-03-05T08:08:13.807" v="180" actId="478"/>
          <ac:grpSpMkLst>
            <pc:docMk/>
            <pc:sldMk cId="569333293" sldId="373"/>
            <ac:grpSpMk id="7" creationId="{39674F3D-5EC6-4AC8-BF22-DAB75BC0A624}"/>
          </ac:grpSpMkLst>
        </pc:grpChg>
        <pc:picChg chg="del">
          <ac:chgData name="Lars Ivar Hatledal" userId="da83bdda-499a-4427-8775-f375be339a54" providerId="ADAL" clId="{D4F7D428-4D3F-4D7F-A708-D669671558DA}" dt="2021-03-05T08:08:11.437" v="179" actId="478"/>
          <ac:picMkLst>
            <pc:docMk/>
            <pc:sldMk cId="569333293" sldId="373"/>
            <ac:picMk id="3" creationId="{19CE0BC2-BCB7-4B14-82DE-2E5FB8BA6F5A}"/>
          </ac:picMkLst>
        </pc:picChg>
      </pc:sldChg>
      <pc:sldChg chg="del">
        <pc:chgData name="Lars Ivar Hatledal" userId="da83bdda-499a-4427-8775-f375be339a54" providerId="ADAL" clId="{D4F7D428-4D3F-4D7F-A708-D669671558DA}" dt="2021-03-05T08:04:17.292" v="27" actId="47"/>
        <pc:sldMkLst>
          <pc:docMk/>
          <pc:sldMk cId="2737261628" sldId="435"/>
        </pc:sldMkLst>
      </pc:sldChg>
      <pc:sldChg chg="del">
        <pc:chgData name="Lars Ivar Hatledal" userId="da83bdda-499a-4427-8775-f375be339a54" providerId="ADAL" clId="{D4F7D428-4D3F-4D7F-A708-D669671558DA}" dt="2021-03-05T08:04:19.648" v="30" actId="47"/>
        <pc:sldMkLst>
          <pc:docMk/>
          <pc:sldMk cId="1900449805" sldId="483"/>
        </pc:sldMkLst>
      </pc:sldChg>
      <pc:sldChg chg="del">
        <pc:chgData name="Lars Ivar Hatledal" userId="da83bdda-499a-4427-8775-f375be339a54" providerId="ADAL" clId="{D4F7D428-4D3F-4D7F-A708-D669671558DA}" dt="2021-03-05T08:04:18.858" v="29" actId="47"/>
        <pc:sldMkLst>
          <pc:docMk/>
          <pc:sldMk cId="569199191" sldId="484"/>
        </pc:sldMkLst>
      </pc:sldChg>
      <pc:sldChg chg="delSp modSp add del mod modNotesTx">
        <pc:chgData name="Lars Ivar Hatledal" userId="da83bdda-499a-4427-8775-f375be339a54" providerId="ADAL" clId="{D4F7D428-4D3F-4D7F-A708-D669671558DA}" dt="2021-03-09T10:11:37.314" v="1023" actId="47"/>
        <pc:sldMkLst>
          <pc:docMk/>
          <pc:sldMk cId="3351500673" sldId="486"/>
        </pc:sldMkLst>
        <pc:spChg chg="mod">
          <ac:chgData name="Lars Ivar Hatledal" userId="da83bdda-499a-4427-8775-f375be339a54" providerId="ADAL" clId="{D4F7D428-4D3F-4D7F-A708-D669671558DA}" dt="2021-03-05T08:15:23.225" v="379" actId="20577"/>
          <ac:spMkLst>
            <pc:docMk/>
            <pc:sldMk cId="3351500673" sldId="486"/>
            <ac:spMk id="28" creationId="{48703A56-96F6-4216-B29F-75E1A68FEBED}"/>
          </ac:spMkLst>
        </pc:spChg>
        <pc:spChg chg="mod">
          <ac:chgData name="Lars Ivar Hatledal" userId="da83bdda-499a-4427-8775-f375be339a54" providerId="ADAL" clId="{D4F7D428-4D3F-4D7F-A708-D669671558DA}" dt="2021-03-05T08:16:55.575" v="552" actId="20577"/>
          <ac:spMkLst>
            <pc:docMk/>
            <pc:sldMk cId="3351500673" sldId="486"/>
            <ac:spMk id="39" creationId="{E8B36FFF-6B33-48E4-8969-E5C062A58083}"/>
          </ac:spMkLst>
        </pc:spChg>
        <pc:grpChg chg="del">
          <ac:chgData name="Lars Ivar Hatledal" userId="da83bdda-499a-4427-8775-f375be339a54" providerId="ADAL" clId="{D4F7D428-4D3F-4D7F-A708-D669671558DA}" dt="2021-03-05T08:10:04.893" v="319" actId="478"/>
          <ac:grpSpMkLst>
            <pc:docMk/>
            <pc:sldMk cId="3351500673" sldId="486"/>
            <ac:grpSpMk id="6" creationId="{544038CC-2CF6-41E6-B7C1-311EA20C2BF9}"/>
          </ac:grpSpMkLst>
        </pc:grpChg>
        <pc:grpChg chg="del">
          <ac:chgData name="Lars Ivar Hatledal" userId="da83bdda-499a-4427-8775-f375be339a54" providerId="ADAL" clId="{D4F7D428-4D3F-4D7F-A708-D669671558DA}" dt="2021-03-05T08:10:05.627" v="320" actId="478"/>
          <ac:grpSpMkLst>
            <pc:docMk/>
            <pc:sldMk cId="3351500673" sldId="486"/>
            <ac:grpSpMk id="9" creationId="{41ECB3B0-31F3-427E-81C4-BF73EC458B39}"/>
          </ac:grpSpMkLst>
        </pc:grpChg>
      </pc:sldChg>
      <pc:sldChg chg="add del">
        <pc:chgData name="Lars Ivar Hatledal" userId="da83bdda-499a-4427-8775-f375be339a54" providerId="ADAL" clId="{D4F7D428-4D3F-4D7F-A708-D669671558DA}" dt="2021-03-05T08:12:46.626" v="356" actId="47"/>
        <pc:sldMkLst>
          <pc:docMk/>
          <pc:sldMk cId="3985151836" sldId="487"/>
        </pc:sldMkLst>
      </pc:sldChg>
      <pc:sldChg chg="add del">
        <pc:chgData name="Lars Ivar Hatledal" userId="da83bdda-499a-4427-8775-f375be339a54" providerId="ADAL" clId="{D4F7D428-4D3F-4D7F-A708-D669671558DA}" dt="2021-03-05T08:12:47.366" v="357" actId="47"/>
        <pc:sldMkLst>
          <pc:docMk/>
          <pc:sldMk cId="3393515721" sldId="488"/>
        </pc:sldMkLst>
      </pc:sldChg>
      <pc:sldChg chg="add del">
        <pc:chgData name="Lars Ivar Hatledal" userId="da83bdda-499a-4427-8775-f375be339a54" providerId="ADAL" clId="{D4F7D428-4D3F-4D7F-A708-D669671558DA}" dt="2021-03-05T08:11:21.696" v="323" actId="47"/>
        <pc:sldMkLst>
          <pc:docMk/>
          <pc:sldMk cId="1917352690" sldId="489"/>
        </pc:sldMkLst>
      </pc:sldChg>
      <pc:sldChg chg="add del">
        <pc:chgData name="Lars Ivar Hatledal" userId="da83bdda-499a-4427-8775-f375be339a54" providerId="ADAL" clId="{D4F7D428-4D3F-4D7F-A708-D669671558DA}" dt="2021-03-05T08:12:51.541" v="361" actId="47"/>
        <pc:sldMkLst>
          <pc:docMk/>
          <pc:sldMk cId="1714523219" sldId="490"/>
        </pc:sldMkLst>
      </pc:sldChg>
      <pc:sldChg chg="addSp delSp modSp add del mod ord">
        <pc:chgData name="Lars Ivar Hatledal" userId="da83bdda-499a-4427-8775-f375be339a54" providerId="ADAL" clId="{D4F7D428-4D3F-4D7F-A708-D669671558DA}" dt="2021-03-18T22:12:56.113" v="29502" actId="2696"/>
        <pc:sldMkLst>
          <pc:docMk/>
          <pc:sldMk cId="2173165416" sldId="491"/>
        </pc:sldMkLst>
        <pc:spChg chg="mod">
          <ac:chgData name="Lars Ivar Hatledal" userId="da83bdda-499a-4427-8775-f375be339a54" providerId="ADAL" clId="{D4F7D428-4D3F-4D7F-A708-D669671558DA}" dt="2021-03-14T16:53:12.494" v="12374" actId="207"/>
          <ac:spMkLst>
            <pc:docMk/>
            <pc:sldMk cId="2173165416" sldId="491"/>
            <ac:spMk id="26" creationId="{F7012B31-D035-4588-A480-DACDA83B843C}"/>
          </ac:spMkLst>
        </pc:spChg>
        <pc:spChg chg="mod">
          <ac:chgData name="Lars Ivar Hatledal" userId="da83bdda-499a-4427-8775-f375be339a54" providerId="ADAL" clId="{D4F7D428-4D3F-4D7F-A708-D669671558DA}" dt="2021-03-11T13:29:34.329" v="3802" actId="20577"/>
          <ac:spMkLst>
            <pc:docMk/>
            <pc:sldMk cId="2173165416" sldId="491"/>
            <ac:spMk id="28" creationId="{48703A56-96F6-4216-B29F-75E1A68FEBED}"/>
          </ac:spMkLst>
        </pc:spChg>
        <pc:spChg chg="mod">
          <ac:chgData name="Lars Ivar Hatledal" userId="da83bdda-499a-4427-8775-f375be339a54" providerId="ADAL" clId="{D4F7D428-4D3F-4D7F-A708-D669671558DA}" dt="2021-03-14T18:48:48.140" v="14730"/>
          <ac:spMkLst>
            <pc:docMk/>
            <pc:sldMk cId="2173165416" sldId="491"/>
            <ac:spMk id="46" creationId="{9091FCDC-A887-44FA-B608-56439065934F}"/>
          </ac:spMkLst>
        </pc:spChg>
        <pc:spChg chg="mod">
          <ac:chgData name="Lars Ivar Hatledal" userId="da83bdda-499a-4427-8775-f375be339a54" providerId="ADAL" clId="{D4F7D428-4D3F-4D7F-A708-D669671558DA}" dt="2021-03-14T18:48:48.140" v="14730"/>
          <ac:spMkLst>
            <pc:docMk/>
            <pc:sldMk cId="2173165416" sldId="491"/>
            <ac:spMk id="47" creationId="{1FC0B430-8742-4827-A76D-8F5C1116CD83}"/>
          </ac:spMkLst>
        </pc:spChg>
        <pc:spChg chg="mod">
          <ac:chgData name="Lars Ivar Hatledal" userId="da83bdda-499a-4427-8775-f375be339a54" providerId="ADAL" clId="{D4F7D428-4D3F-4D7F-A708-D669671558DA}" dt="2021-03-14T18:48:48.140" v="14730"/>
          <ac:spMkLst>
            <pc:docMk/>
            <pc:sldMk cId="2173165416" sldId="491"/>
            <ac:spMk id="48" creationId="{A14AB6D6-A3C8-4F1C-BCB7-2372A5DBF432}"/>
          </ac:spMkLst>
        </pc:spChg>
        <pc:spChg chg="mod">
          <ac:chgData name="Lars Ivar Hatledal" userId="da83bdda-499a-4427-8775-f375be339a54" providerId="ADAL" clId="{D4F7D428-4D3F-4D7F-A708-D669671558DA}" dt="2021-03-14T18:48:48.140" v="14730"/>
          <ac:spMkLst>
            <pc:docMk/>
            <pc:sldMk cId="2173165416" sldId="491"/>
            <ac:spMk id="49" creationId="{0FFE9A60-F0ED-46C8-8395-7FB9FD410C30}"/>
          </ac:spMkLst>
        </pc:spChg>
        <pc:spChg chg="mod">
          <ac:chgData name="Lars Ivar Hatledal" userId="da83bdda-499a-4427-8775-f375be339a54" providerId="ADAL" clId="{D4F7D428-4D3F-4D7F-A708-D669671558DA}" dt="2021-03-14T18:48:48.140" v="14730"/>
          <ac:spMkLst>
            <pc:docMk/>
            <pc:sldMk cId="2173165416" sldId="491"/>
            <ac:spMk id="50" creationId="{8B3CEA5D-E405-4BAF-93DC-FD483B55DBCD}"/>
          </ac:spMkLst>
        </pc:spChg>
        <pc:spChg chg="mod">
          <ac:chgData name="Lars Ivar Hatledal" userId="da83bdda-499a-4427-8775-f375be339a54" providerId="ADAL" clId="{D4F7D428-4D3F-4D7F-A708-D669671558DA}" dt="2021-03-14T18:48:48.140" v="14730"/>
          <ac:spMkLst>
            <pc:docMk/>
            <pc:sldMk cId="2173165416" sldId="491"/>
            <ac:spMk id="51" creationId="{19DC4448-E7F5-4A2B-B19F-F1A7B6EE7032}"/>
          </ac:spMkLst>
        </pc:spChg>
        <pc:spChg chg="mod">
          <ac:chgData name="Lars Ivar Hatledal" userId="da83bdda-499a-4427-8775-f375be339a54" providerId="ADAL" clId="{D4F7D428-4D3F-4D7F-A708-D669671558DA}" dt="2021-03-14T18:48:48.140" v="14730"/>
          <ac:spMkLst>
            <pc:docMk/>
            <pc:sldMk cId="2173165416" sldId="491"/>
            <ac:spMk id="52" creationId="{089D8258-6B25-464E-A3AB-E115E19DF128}"/>
          </ac:spMkLst>
        </pc:spChg>
        <pc:spChg chg="mod">
          <ac:chgData name="Lars Ivar Hatledal" userId="da83bdda-499a-4427-8775-f375be339a54" providerId="ADAL" clId="{D4F7D428-4D3F-4D7F-A708-D669671558DA}" dt="2021-03-14T18:48:48.140" v="14730"/>
          <ac:spMkLst>
            <pc:docMk/>
            <pc:sldMk cId="2173165416" sldId="491"/>
            <ac:spMk id="53" creationId="{5331A72B-FD13-488F-83C9-2CE34F502D03}"/>
          </ac:spMkLst>
        </pc:spChg>
        <pc:spChg chg="mod">
          <ac:chgData name="Lars Ivar Hatledal" userId="da83bdda-499a-4427-8775-f375be339a54" providerId="ADAL" clId="{D4F7D428-4D3F-4D7F-A708-D669671558DA}" dt="2021-03-14T18:48:48.140" v="14730"/>
          <ac:spMkLst>
            <pc:docMk/>
            <pc:sldMk cId="2173165416" sldId="491"/>
            <ac:spMk id="54" creationId="{0946721D-FBDF-4E39-B84C-9CDF908776D0}"/>
          </ac:spMkLst>
        </pc:spChg>
        <pc:spChg chg="mod">
          <ac:chgData name="Lars Ivar Hatledal" userId="da83bdda-499a-4427-8775-f375be339a54" providerId="ADAL" clId="{D4F7D428-4D3F-4D7F-A708-D669671558DA}" dt="2021-03-14T18:48:48.140" v="14730"/>
          <ac:spMkLst>
            <pc:docMk/>
            <pc:sldMk cId="2173165416" sldId="491"/>
            <ac:spMk id="55" creationId="{365E6F9F-B2C5-4827-8FFB-3B65C85128C9}"/>
          </ac:spMkLst>
        </pc:spChg>
        <pc:grpChg chg="add mod">
          <ac:chgData name="Lars Ivar Hatledal" userId="da83bdda-499a-4427-8775-f375be339a54" providerId="ADAL" clId="{D4F7D428-4D3F-4D7F-A708-D669671558DA}" dt="2021-03-14T18:48:48.140" v="14730"/>
          <ac:grpSpMkLst>
            <pc:docMk/>
            <pc:sldMk cId="2173165416" sldId="491"/>
            <ac:grpSpMk id="22" creationId="{404E165D-352B-47C0-8C21-EF9D3FB599A7}"/>
          </ac:grpSpMkLst>
        </pc:grpChg>
        <pc:grpChg chg="mod">
          <ac:chgData name="Lars Ivar Hatledal" userId="da83bdda-499a-4427-8775-f375be339a54" providerId="ADAL" clId="{D4F7D428-4D3F-4D7F-A708-D669671558DA}" dt="2021-03-14T18:48:48.140" v="14730"/>
          <ac:grpSpMkLst>
            <pc:docMk/>
            <pc:sldMk cId="2173165416" sldId="491"/>
            <ac:grpSpMk id="23" creationId="{DB9078C4-C112-473D-8BD8-8547008690CA}"/>
          </ac:grpSpMkLst>
        </pc:grpChg>
        <pc:grpChg chg="mod">
          <ac:chgData name="Lars Ivar Hatledal" userId="da83bdda-499a-4427-8775-f375be339a54" providerId="ADAL" clId="{D4F7D428-4D3F-4D7F-A708-D669671558DA}" dt="2021-03-14T18:48:48.140" v="14730"/>
          <ac:grpSpMkLst>
            <pc:docMk/>
            <pc:sldMk cId="2173165416" sldId="491"/>
            <ac:grpSpMk id="24" creationId="{6F742DA8-AD3D-4BF1-956E-ADB1CB1463C9}"/>
          </ac:grpSpMkLst>
        </pc:grpChg>
        <pc:grpChg chg="del">
          <ac:chgData name="Lars Ivar Hatledal" userId="da83bdda-499a-4427-8775-f375be339a54" providerId="ADAL" clId="{D4F7D428-4D3F-4D7F-A708-D669671558DA}" dt="2021-03-14T18:48:47.841" v="14729" actId="478"/>
          <ac:grpSpMkLst>
            <pc:docMk/>
            <pc:sldMk cId="2173165416" sldId="491"/>
            <ac:grpSpMk id="25" creationId="{0F9B27B9-640B-4A52-AAF6-8A48C7C5619E}"/>
          </ac:grpSpMkLst>
        </pc:grpChg>
        <pc:grpChg chg="mod">
          <ac:chgData name="Lars Ivar Hatledal" userId="da83bdda-499a-4427-8775-f375be339a54" providerId="ADAL" clId="{D4F7D428-4D3F-4D7F-A708-D669671558DA}" dt="2021-03-14T18:48:48.140" v="14730"/>
          <ac:grpSpMkLst>
            <pc:docMk/>
            <pc:sldMk cId="2173165416" sldId="491"/>
            <ac:grpSpMk id="43" creationId="{82417BB9-69D8-4C31-A567-47DF4FABD2F4}"/>
          </ac:grpSpMkLst>
        </pc:grpChg>
        <pc:grpChg chg="mod">
          <ac:chgData name="Lars Ivar Hatledal" userId="da83bdda-499a-4427-8775-f375be339a54" providerId="ADAL" clId="{D4F7D428-4D3F-4D7F-A708-D669671558DA}" dt="2021-03-14T18:48:48.140" v="14730"/>
          <ac:grpSpMkLst>
            <pc:docMk/>
            <pc:sldMk cId="2173165416" sldId="491"/>
            <ac:grpSpMk id="44" creationId="{F7B763AF-95E0-4E88-9DF3-9B4638AF5D02}"/>
          </ac:grpSpMkLst>
        </pc:grpChg>
        <pc:grpChg chg="mod">
          <ac:chgData name="Lars Ivar Hatledal" userId="da83bdda-499a-4427-8775-f375be339a54" providerId="ADAL" clId="{D4F7D428-4D3F-4D7F-A708-D669671558DA}" dt="2021-03-14T18:48:48.140" v="14730"/>
          <ac:grpSpMkLst>
            <pc:docMk/>
            <pc:sldMk cId="2173165416" sldId="491"/>
            <ac:grpSpMk id="45" creationId="{C4CFEB8D-2D72-4EE2-9A13-59E6765CB862}"/>
          </ac:grpSpMkLst>
        </pc:grpChg>
        <pc:picChg chg="add mod">
          <ac:chgData name="Lars Ivar Hatledal" userId="da83bdda-499a-4427-8775-f375be339a54" providerId="ADAL" clId="{D4F7D428-4D3F-4D7F-A708-D669671558DA}" dt="2021-03-11T13:35:06.383" v="3874" actId="1076"/>
          <ac:picMkLst>
            <pc:docMk/>
            <pc:sldMk cId="2173165416" sldId="491"/>
            <ac:picMk id="2" creationId="{39E0F07A-AC18-42DB-9C15-96483912C357}"/>
          </ac:picMkLst>
        </pc:picChg>
        <pc:picChg chg="add del mod">
          <ac:chgData name="Lars Ivar Hatledal" userId="da83bdda-499a-4427-8775-f375be339a54" providerId="ADAL" clId="{D4F7D428-4D3F-4D7F-A708-D669671558DA}" dt="2021-03-11T13:34:42.962" v="3872" actId="478"/>
          <ac:picMkLst>
            <pc:docMk/>
            <pc:sldMk cId="2173165416" sldId="491"/>
            <ac:picMk id="4098" creationId="{93E87F07-7921-4F16-B519-5EEEF0394867}"/>
          </ac:picMkLst>
        </pc:picChg>
      </pc:sldChg>
      <pc:sldChg chg="modSp add mod modNotesTx">
        <pc:chgData name="Lars Ivar Hatledal" userId="da83bdda-499a-4427-8775-f375be339a54" providerId="ADAL" clId="{D4F7D428-4D3F-4D7F-A708-D669671558DA}" dt="2021-03-18T22:18:10.568" v="29972" actId="20577"/>
        <pc:sldMkLst>
          <pc:docMk/>
          <pc:sldMk cId="3209679213" sldId="491"/>
        </pc:sldMkLst>
        <pc:spChg chg="mod">
          <ac:chgData name="Lars Ivar Hatledal" userId="da83bdda-499a-4427-8775-f375be339a54" providerId="ADAL" clId="{D4F7D428-4D3F-4D7F-A708-D669671558DA}" dt="2021-03-18T22:13:25.412" v="29507" actId="20577"/>
          <ac:spMkLst>
            <pc:docMk/>
            <pc:sldMk cId="3209679213" sldId="491"/>
            <ac:spMk id="26" creationId="{F7012B31-D035-4588-A480-DACDA83B843C}"/>
          </ac:spMkLst>
        </pc:spChg>
      </pc:sldChg>
      <pc:sldChg chg="add del">
        <pc:chgData name="Lars Ivar Hatledal" userId="da83bdda-499a-4427-8775-f375be339a54" providerId="ADAL" clId="{D4F7D428-4D3F-4D7F-A708-D669671558DA}" dt="2021-03-05T08:12:55.591" v="365" actId="47"/>
        <pc:sldMkLst>
          <pc:docMk/>
          <pc:sldMk cId="1020678308" sldId="492"/>
        </pc:sldMkLst>
      </pc:sldChg>
      <pc:sldChg chg="add del">
        <pc:chgData name="Lars Ivar Hatledal" userId="da83bdda-499a-4427-8775-f375be339a54" providerId="ADAL" clId="{D4F7D428-4D3F-4D7F-A708-D669671558DA}" dt="2021-03-05T08:12:56.501" v="366" actId="47"/>
        <pc:sldMkLst>
          <pc:docMk/>
          <pc:sldMk cId="873767646" sldId="493"/>
        </pc:sldMkLst>
      </pc:sldChg>
      <pc:sldChg chg="add del">
        <pc:chgData name="Lars Ivar Hatledal" userId="da83bdda-499a-4427-8775-f375be339a54" providerId="ADAL" clId="{D4F7D428-4D3F-4D7F-A708-D669671558DA}" dt="2021-03-05T08:12:54.506" v="364" actId="47"/>
        <pc:sldMkLst>
          <pc:docMk/>
          <pc:sldMk cId="2483494249" sldId="494"/>
        </pc:sldMkLst>
      </pc:sldChg>
      <pc:sldChg chg="add del">
        <pc:chgData name="Lars Ivar Hatledal" userId="da83bdda-499a-4427-8775-f375be339a54" providerId="ADAL" clId="{D4F7D428-4D3F-4D7F-A708-D669671558DA}" dt="2021-03-05T08:12:53.581" v="363" actId="47"/>
        <pc:sldMkLst>
          <pc:docMk/>
          <pc:sldMk cId="3640864421" sldId="495"/>
        </pc:sldMkLst>
      </pc:sldChg>
      <pc:sldChg chg="addSp delSp modSp del mod">
        <pc:chgData name="Lars Ivar Hatledal" userId="da83bdda-499a-4427-8775-f375be339a54" providerId="ADAL" clId="{D4F7D428-4D3F-4D7F-A708-D669671558DA}" dt="2021-03-09T11:59:47.489" v="1218" actId="47"/>
        <pc:sldMkLst>
          <pc:docMk/>
          <pc:sldMk cId="2679814375" sldId="498"/>
        </pc:sldMkLst>
        <pc:spChg chg="add mod">
          <ac:chgData name="Lars Ivar Hatledal" userId="da83bdda-499a-4427-8775-f375be339a54" providerId="ADAL" clId="{D4F7D428-4D3F-4D7F-A708-D669671558DA}" dt="2021-03-09T11:59:37.619" v="1217"/>
          <ac:spMkLst>
            <pc:docMk/>
            <pc:sldMk cId="2679814375" sldId="498"/>
            <ac:spMk id="2" creationId="{740E8691-7F45-4438-B4DE-7789CE8CBF34}"/>
          </ac:spMkLst>
        </pc:spChg>
        <pc:spChg chg="del">
          <ac:chgData name="Lars Ivar Hatledal" userId="da83bdda-499a-4427-8775-f375be339a54" providerId="ADAL" clId="{D4F7D428-4D3F-4D7F-A708-D669671558DA}" dt="2021-03-09T10:11:53.104" v="1029" actId="478"/>
          <ac:spMkLst>
            <pc:docMk/>
            <pc:sldMk cId="2679814375" sldId="498"/>
            <ac:spMk id="25" creationId="{61A1181F-D432-447D-86F1-B1714512EF83}"/>
          </ac:spMkLst>
        </pc:spChg>
        <pc:spChg chg="del mod">
          <ac:chgData name="Lars Ivar Hatledal" userId="da83bdda-499a-4427-8775-f375be339a54" providerId="ADAL" clId="{D4F7D428-4D3F-4D7F-A708-D669671558DA}" dt="2021-03-09T10:11:53.104" v="1031"/>
          <ac:spMkLst>
            <pc:docMk/>
            <pc:sldMk cId="2679814375" sldId="498"/>
            <ac:spMk id="26" creationId="{F7012B31-D035-4588-A480-DACDA83B843C}"/>
          </ac:spMkLst>
        </pc:spChg>
        <pc:spChg chg="mod">
          <ac:chgData name="Lars Ivar Hatledal" userId="da83bdda-499a-4427-8775-f375be339a54" providerId="ADAL" clId="{D4F7D428-4D3F-4D7F-A708-D669671558DA}" dt="2021-03-05T08:05:05.908" v="51" actId="1076"/>
          <ac:spMkLst>
            <pc:docMk/>
            <pc:sldMk cId="2679814375" sldId="498"/>
            <ac:spMk id="41" creationId="{F78E48A6-B618-4988-9548-234A4C7102D2}"/>
          </ac:spMkLst>
        </pc:spChg>
      </pc:sldChg>
      <pc:sldChg chg="addSp modSp new del mod">
        <pc:chgData name="Lars Ivar Hatledal" userId="da83bdda-499a-4427-8775-f375be339a54" providerId="ADAL" clId="{D4F7D428-4D3F-4D7F-A708-D669671558DA}" dt="2021-03-09T10:22:50.572" v="1070" actId="47"/>
        <pc:sldMkLst>
          <pc:docMk/>
          <pc:sldMk cId="1742679830" sldId="499"/>
        </pc:sldMkLst>
        <pc:spChg chg="mod">
          <ac:chgData name="Lars Ivar Hatledal" userId="da83bdda-499a-4427-8775-f375be339a54" providerId="ADAL" clId="{D4F7D428-4D3F-4D7F-A708-D669671558DA}" dt="2021-03-09T10:21:17.722" v="1062" actId="404"/>
          <ac:spMkLst>
            <pc:docMk/>
            <pc:sldMk cId="1742679830" sldId="499"/>
            <ac:spMk id="2" creationId="{D8845EB7-77FF-4BA2-8C16-DE3977650E08}"/>
          </ac:spMkLst>
        </pc:spChg>
        <pc:spChg chg="mod">
          <ac:chgData name="Lars Ivar Hatledal" userId="da83bdda-499a-4427-8775-f375be339a54" providerId="ADAL" clId="{D4F7D428-4D3F-4D7F-A708-D669671558DA}" dt="2021-03-09T10:21:00.802" v="1058" actId="1076"/>
          <ac:spMkLst>
            <pc:docMk/>
            <pc:sldMk cId="1742679830" sldId="499"/>
            <ac:spMk id="3" creationId="{ED6E3DFA-218F-4490-BE92-29F2ED5CAA29}"/>
          </ac:spMkLst>
        </pc:spChg>
        <pc:cxnChg chg="add mod">
          <ac:chgData name="Lars Ivar Hatledal" userId="da83bdda-499a-4427-8775-f375be339a54" providerId="ADAL" clId="{D4F7D428-4D3F-4D7F-A708-D669671558DA}" dt="2021-03-09T10:20:21.982" v="1053"/>
          <ac:cxnSpMkLst>
            <pc:docMk/>
            <pc:sldMk cId="1742679830" sldId="499"/>
            <ac:cxnSpMk id="4" creationId="{7474F468-1400-4702-A6E3-7684FF86D9FA}"/>
          </ac:cxnSpMkLst>
        </pc:cxnChg>
        <pc:cxnChg chg="add mod">
          <ac:chgData name="Lars Ivar Hatledal" userId="da83bdda-499a-4427-8775-f375be339a54" providerId="ADAL" clId="{D4F7D428-4D3F-4D7F-A708-D669671558DA}" dt="2021-03-09T10:20:47.992" v="1055" actId="1076"/>
          <ac:cxnSpMkLst>
            <pc:docMk/>
            <pc:sldMk cId="1742679830" sldId="499"/>
            <ac:cxnSpMk id="5" creationId="{2AD30BE1-3657-4E5F-AC45-D91369369E0A}"/>
          </ac:cxnSpMkLst>
        </pc:cxnChg>
      </pc:sldChg>
      <pc:sldChg chg="add del">
        <pc:chgData name="Lars Ivar Hatledal" userId="da83bdda-499a-4427-8775-f375be339a54" providerId="ADAL" clId="{D4F7D428-4D3F-4D7F-A708-D669671558DA}" dt="2021-03-05T08:12:48.676" v="358" actId="47"/>
        <pc:sldMkLst>
          <pc:docMk/>
          <pc:sldMk cId="2331849522" sldId="499"/>
        </pc:sldMkLst>
      </pc:sldChg>
      <pc:sldChg chg="delSp modSp add del mod">
        <pc:chgData name="Lars Ivar Hatledal" userId="da83bdda-499a-4427-8775-f375be339a54" providerId="ADAL" clId="{D4F7D428-4D3F-4D7F-A708-D669671558DA}" dt="2021-03-09T10:11:38.024" v="1024" actId="47"/>
        <pc:sldMkLst>
          <pc:docMk/>
          <pc:sldMk cId="4076756133" sldId="499"/>
        </pc:sldMkLst>
        <pc:spChg chg="mod">
          <ac:chgData name="Lars Ivar Hatledal" userId="da83bdda-499a-4427-8775-f375be339a54" providerId="ADAL" clId="{D4F7D428-4D3F-4D7F-A708-D669671558DA}" dt="2021-03-05T08:20:21.809" v="715" actId="20577"/>
          <ac:spMkLst>
            <pc:docMk/>
            <pc:sldMk cId="4076756133" sldId="499"/>
            <ac:spMk id="28" creationId="{48703A56-96F6-4216-B29F-75E1A68FEBED}"/>
          </ac:spMkLst>
        </pc:spChg>
        <pc:spChg chg="mod">
          <ac:chgData name="Lars Ivar Hatledal" userId="da83bdda-499a-4427-8775-f375be339a54" providerId="ADAL" clId="{D4F7D428-4D3F-4D7F-A708-D669671558DA}" dt="2021-03-05T08:17:21.230" v="588" actId="20577"/>
          <ac:spMkLst>
            <pc:docMk/>
            <pc:sldMk cId="4076756133" sldId="499"/>
            <ac:spMk id="39" creationId="{E8B36FFF-6B33-48E4-8969-E5C062A58083}"/>
          </ac:spMkLst>
        </pc:spChg>
        <pc:spChg chg="mod">
          <ac:chgData name="Lars Ivar Hatledal" userId="da83bdda-499a-4427-8775-f375be339a54" providerId="ADAL" clId="{D4F7D428-4D3F-4D7F-A708-D669671558DA}" dt="2021-03-05T08:18:51.930" v="631" actId="14100"/>
          <ac:spMkLst>
            <pc:docMk/>
            <pc:sldMk cId="4076756133" sldId="499"/>
            <ac:spMk id="42" creationId="{D789BC43-90BC-41EA-99D5-527898977B6D}"/>
          </ac:spMkLst>
        </pc:spChg>
        <pc:spChg chg="mod">
          <ac:chgData name="Lars Ivar Hatledal" userId="da83bdda-499a-4427-8775-f375be339a54" providerId="ADAL" clId="{D4F7D428-4D3F-4D7F-A708-D669671558DA}" dt="2021-03-05T08:19:32.840" v="663" actId="113"/>
          <ac:spMkLst>
            <pc:docMk/>
            <pc:sldMk cId="4076756133" sldId="499"/>
            <ac:spMk id="45" creationId="{1752035B-1777-4679-A7CC-7EF5E521C7AA}"/>
          </ac:spMkLst>
        </pc:spChg>
        <pc:spChg chg="del">
          <ac:chgData name="Lars Ivar Hatledal" userId="da83bdda-499a-4427-8775-f375be339a54" providerId="ADAL" clId="{D4F7D428-4D3F-4D7F-A708-D669671558DA}" dt="2021-03-05T08:18:13.885" v="618" actId="478"/>
          <ac:spMkLst>
            <pc:docMk/>
            <pc:sldMk cId="4076756133" sldId="499"/>
            <ac:spMk id="47" creationId="{71CE9551-96BD-4F95-BEDA-CA1B7A686CBE}"/>
          </ac:spMkLst>
        </pc:spChg>
        <pc:spChg chg="mod">
          <ac:chgData name="Lars Ivar Hatledal" userId="da83bdda-499a-4427-8775-f375be339a54" providerId="ADAL" clId="{D4F7D428-4D3F-4D7F-A708-D669671558DA}" dt="2021-03-05T08:17:42.605" v="598" actId="20577"/>
          <ac:spMkLst>
            <pc:docMk/>
            <pc:sldMk cId="4076756133" sldId="499"/>
            <ac:spMk id="51" creationId="{5A393DD6-CD45-44EF-939E-3F9AC093E9FA}"/>
          </ac:spMkLst>
        </pc:spChg>
        <pc:spChg chg="mod">
          <ac:chgData name="Lars Ivar Hatledal" userId="da83bdda-499a-4427-8775-f375be339a54" providerId="ADAL" clId="{D4F7D428-4D3F-4D7F-A708-D669671558DA}" dt="2021-03-05T08:17:47.315" v="604" actId="20577"/>
          <ac:spMkLst>
            <pc:docMk/>
            <pc:sldMk cId="4076756133" sldId="499"/>
            <ac:spMk id="53" creationId="{C9478712-23E3-4539-920F-19F31F2C6842}"/>
          </ac:spMkLst>
        </pc:spChg>
        <pc:spChg chg="mod">
          <ac:chgData name="Lars Ivar Hatledal" userId="da83bdda-499a-4427-8775-f375be339a54" providerId="ADAL" clId="{D4F7D428-4D3F-4D7F-A708-D669671558DA}" dt="2021-03-05T08:17:52.804" v="607" actId="20577"/>
          <ac:spMkLst>
            <pc:docMk/>
            <pc:sldMk cId="4076756133" sldId="499"/>
            <ac:spMk id="54" creationId="{C0866C14-04A8-4D19-BE22-9BE98C9FA887}"/>
          </ac:spMkLst>
        </pc:spChg>
        <pc:spChg chg="mod">
          <ac:chgData name="Lars Ivar Hatledal" userId="da83bdda-499a-4427-8775-f375be339a54" providerId="ADAL" clId="{D4F7D428-4D3F-4D7F-A708-D669671558DA}" dt="2021-03-05T08:17:57.835" v="613" actId="20577"/>
          <ac:spMkLst>
            <pc:docMk/>
            <pc:sldMk cId="4076756133" sldId="499"/>
            <ac:spMk id="55" creationId="{D214046B-EE2B-4178-ACB1-81165D8F46FD}"/>
          </ac:spMkLst>
        </pc:spChg>
        <pc:spChg chg="del mod">
          <ac:chgData name="Lars Ivar Hatledal" userId="da83bdda-499a-4427-8775-f375be339a54" providerId="ADAL" clId="{D4F7D428-4D3F-4D7F-A708-D669671558DA}" dt="2021-03-05T08:18:08.655" v="617" actId="478"/>
          <ac:spMkLst>
            <pc:docMk/>
            <pc:sldMk cId="4076756133" sldId="499"/>
            <ac:spMk id="56" creationId="{07349765-ABA8-482D-99E5-E08C2B14FEC0}"/>
          </ac:spMkLst>
        </pc:spChg>
      </pc:sldChg>
      <pc:sldChg chg="modSp add del mod">
        <pc:chgData name="Lars Ivar Hatledal" userId="da83bdda-499a-4427-8775-f375be339a54" providerId="ADAL" clId="{D4F7D428-4D3F-4D7F-A708-D669671558DA}" dt="2021-03-09T10:11:40.094" v="1027" actId="47"/>
        <pc:sldMkLst>
          <pc:docMk/>
          <pc:sldMk cId="1281305673" sldId="500"/>
        </pc:sldMkLst>
        <pc:spChg chg="mod">
          <ac:chgData name="Lars Ivar Hatledal" userId="da83bdda-499a-4427-8775-f375be339a54" providerId="ADAL" clId="{D4F7D428-4D3F-4D7F-A708-D669671558DA}" dt="2021-03-05T08:34:01.726" v="902" actId="20577"/>
          <ac:spMkLst>
            <pc:docMk/>
            <pc:sldMk cId="1281305673" sldId="500"/>
            <ac:spMk id="28" creationId="{48703A56-96F6-4216-B29F-75E1A68FEBED}"/>
          </ac:spMkLst>
        </pc:spChg>
      </pc:sldChg>
      <pc:sldChg chg="modSp add del mod modNotesTx">
        <pc:chgData name="Lars Ivar Hatledal" userId="da83bdda-499a-4427-8775-f375be339a54" providerId="ADAL" clId="{D4F7D428-4D3F-4D7F-A708-D669671558DA}" dt="2021-03-14T17:19:04.387" v="12592" actId="47"/>
        <pc:sldMkLst>
          <pc:docMk/>
          <pc:sldMk cId="2612816495" sldId="500"/>
        </pc:sldMkLst>
        <pc:spChg chg="mod">
          <ac:chgData name="Lars Ivar Hatledal" userId="da83bdda-499a-4427-8775-f375be339a54" providerId="ADAL" clId="{D4F7D428-4D3F-4D7F-A708-D669671558DA}" dt="2021-03-14T16:10:13.633" v="11115" actId="20577"/>
          <ac:spMkLst>
            <pc:docMk/>
            <pc:sldMk cId="2612816495" sldId="500"/>
            <ac:spMk id="7" creationId="{63991A79-2DF5-4987-8986-F8B6237BF2C9}"/>
          </ac:spMkLst>
        </pc:spChg>
        <pc:spChg chg="mod">
          <ac:chgData name="Lars Ivar Hatledal" userId="da83bdda-499a-4427-8775-f375be339a54" providerId="ADAL" clId="{D4F7D428-4D3F-4D7F-A708-D669671558DA}" dt="2021-03-14T17:07:40.934" v="12528" actId="404"/>
          <ac:spMkLst>
            <pc:docMk/>
            <pc:sldMk cId="2612816495" sldId="500"/>
            <ac:spMk id="45" creationId="{ABE05CC7-87A9-4E18-AEA7-3CFE48FBF726}"/>
          </ac:spMkLst>
        </pc:spChg>
      </pc:sldChg>
      <pc:sldChg chg="add del">
        <pc:chgData name="Lars Ivar Hatledal" userId="da83bdda-499a-4427-8775-f375be339a54" providerId="ADAL" clId="{D4F7D428-4D3F-4D7F-A708-D669671558DA}" dt="2021-03-05T08:12:44.641" v="354" actId="47"/>
        <pc:sldMkLst>
          <pc:docMk/>
          <pc:sldMk cId="3135040838" sldId="500"/>
        </pc:sldMkLst>
      </pc:sldChg>
      <pc:sldChg chg="modSp add del mod">
        <pc:chgData name="Lars Ivar Hatledal" userId="da83bdda-499a-4427-8775-f375be339a54" providerId="ADAL" clId="{D4F7D428-4D3F-4D7F-A708-D669671558DA}" dt="2021-03-09T10:11:38.714" v="1025" actId="47"/>
        <pc:sldMkLst>
          <pc:docMk/>
          <pc:sldMk cId="601949939" sldId="501"/>
        </pc:sldMkLst>
        <pc:spChg chg="mod">
          <ac:chgData name="Lars Ivar Hatledal" userId="da83bdda-499a-4427-8775-f375be339a54" providerId="ADAL" clId="{D4F7D428-4D3F-4D7F-A708-D669671558DA}" dt="2021-03-05T08:20:57.359" v="772" actId="20577"/>
          <ac:spMkLst>
            <pc:docMk/>
            <pc:sldMk cId="601949939" sldId="501"/>
            <ac:spMk id="28" creationId="{48703A56-96F6-4216-B29F-75E1A68FEBED}"/>
          </ac:spMkLst>
        </pc:spChg>
      </pc:sldChg>
      <pc:sldChg chg="new del">
        <pc:chgData name="Lars Ivar Hatledal" userId="da83bdda-499a-4427-8775-f375be339a54" providerId="ADAL" clId="{D4F7D428-4D3F-4D7F-A708-D669671558DA}" dt="2021-03-05T08:20:28.799" v="717" actId="47"/>
        <pc:sldMkLst>
          <pc:docMk/>
          <pc:sldMk cId="3354831239" sldId="501"/>
        </pc:sldMkLst>
      </pc:sldChg>
      <pc:sldChg chg="addSp delSp modSp add mod ord modNotesTx">
        <pc:chgData name="Lars Ivar Hatledal" userId="da83bdda-499a-4427-8775-f375be339a54" providerId="ADAL" clId="{D4F7D428-4D3F-4D7F-A708-D669671558DA}" dt="2021-03-18T20:48:25.310" v="26524" actId="207"/>
        <pc:sldMkLst>
          <pc:docMk/>
          <pc:sldMk cId="3664475662" sldId="501"/>
        </pc:sldMkLst>
        <pc:spChg chg="add mod">
          <ac:chgData name="Lars Ivar Hatledal" userId="da83bdda-499a-4427-8775-f375be339a54" providerId="ADAL" clId="{D4F7D428-4D3F-4D7F-A708-D669671558DA}" dt="2021-03-14T17:05:31.444" v="12482" actId="14100"/>
          <ac:spMkLst>
            <pc:docMk/>
            <pc:sldMk cId="3664475662" sldId="501"/>
            <ac:spMk id="3" creationId="{FBFA873D-0EAC-4D07-996B-B429A793C066}"/>
          </ac:spMkLst>
        </pc:spChg>
        <pc:spChg chg="add mod">
          <ac:chgData name="Lars Ivar Hatledal" userId="da83bdda-499a-4427-8775-f375be339a54" providerId="ADAL" clId="{D4F7D428-4D3F-4D7F-A708-D669671558DA}" dt="2021-03-14T17:05:07.628" v="12476" actId="1076"/>
          <ac:spMkLst>
            <pc:docMk/>
            <pc:sldMk cId="3664475662" sldId="501"/>
            <ac:spMk id="5" creationId="{576249E6-FCC1-4611-8A08-3DFA173A9B38}"/>
          </ac:spMkLst>
        </pc:spChg>
        <pc:spChg chg="mod">
          <ac:chgData name="Lars Ivar Hatledal" userId="da83bdda-499a-4427-8775-f375be339a54" providerId="ADAL" clId="{D4F7D428-4D3F-4D7F-A708-D669671558DA}" dt="2021-03-16T07:55:06.772" v="18122" actId="403"/>
          <ac:spMkLst>
            <pc:docMk/>
            <pc:sldMk cId="3664475662" sldId="501"/>
            <ac:spMk id="7" creationId="{63991A79-2DF5-4987-8986-F8B6237BF2C9}"/>
          </ac:spMkLst>
        </pc:spChg>
        <pc:spChg chg="add mod">
          <ac:chgData name="Lars Ivar Hatledal" userId="da83bdda-499a-4427-8775-f375be339a54" providerId="ADAL" clId="{D4F7D428-4D3F-4D7F-A708-D669671558DA}" dt="2021-03-14T17:04:38.230" v="12466" actId="14100"/>
          <ac:spMkLst>
            <pc:docMk/>
            <pc:sldMk cId="3664475662" sldId="501"/>
            <ac:spMk id="26" creationId="{C08E6AB1-06B1-47A7-8691-A206BD476562}"/>
          </ac:spMkLst>
        </pc:spChg>
        <pc:spChg chg="add mod">
          <ac:chgData name="Lars Ivar Hatledal" userId="da83bdda-499a-4427-8775-f375be339a54" providerId="ADAL" clId="{D4F7D428-4D3F-4D7F-A708-D669671558DA}" dt="2021-03-14T17:05:12.613" v="12477" actId="1076"/>
          <ac:spMkLst>
            <pc:docMk/>
            <pc:sldMk cId="3664475662" sldId="501"/>
            <ac:spMk id="27" creationId="{BE99AE81-1325-46E4-8A50-0C5604E92AD1}"/>
          </ac:spMkLst>
        </pc:spChg>
        <pc:spChg chg="add mod">
          <ac:chgData name="Lars Ivar Hatledal" userId="da83bdda-499a-4427-8775-f375be339a54" providerId="ADAL" clId="{D4F7D428-4D3F-4D7F-A708-D669671558DA}" dt="2021-03-14T17:03:40.612" v="12434" actId="1076"/>
          <ac:spMkLst>
            <pc:docMk/>
            <pc:sldMk cId="3664475662" sldId="501"/>
            <ac:spMk id="28" creationId="{A4711B5E-7769-444A-BBD2-BB223E67B516}"/>
          </ac:spMkLst>
        </pc:spChg>
        <pc:spChg chg="add mod">
          <ac:chgData name="Lars Ivar Hatledal" userId="da83bdda-499a-4427-8775-f375be339a54" providerId="ADAL" clId="{D4F7D428-4D3F-4D7F-A708-D669671558DA}" dt="2021-03-14T17:05:37.117" v="12485" actId="1076"/>
          <ac:spMkLst>
            <pc:docMk/>
            <pc:sldMk cId="3664475662" sldId="501"/>
            <ac:spMk id="29" creationId="{DE795856-299F-406F-8AAC-C77F5C21E708}"/>
          </ac:spMkLst>
        </pc:spChg>
        <pc:spChg chg="add mod">
          <ac:chgData name="Lars Ivar Hatledal" userId="da83bdda-499a-4427-8775-f375be339a54" providerId="ADAL" clId="{D4F7D428-4D3F-4D7F-A708-D669671558DA}" dt="2021-03-14T17:04:44.085" v="12467" actId="1076"/>
          <ac:spMkLst>
            <pc:docMk/>
            <pc:sldMk cId="3664475662" sldId="501"/>
            <ac:spMk id="30" creationId="{1277E13B-FE8F-40C6-918E-2B0985BFD9E4}"/>
          </ac:spMkLst>
        </pc:spChg>
        <pc:spChg chg="mod">
          <ac:chgData name="Lars Ivar Hatledal" userId="da83bdda-499a-4427-8775-f375be339a54" providerId="ADAL" clId="{D4F7D428-4D3F-4D7F-A708-D669671558DA}" dt="2021-03-15T18:36:46.219" v="17359"/>
          <ac:spMkLst>
            <pc:docMk/>
            <pc:sldMk cId="3664475662" sldId="501"/>
            <ac:spMk id="30" creationId="{5D9E94A6-C4CA-43E1-8CEE-0B1A9BBB660C}"/>
          </ac:spMkLst>
        </pc:spChg>
        <pc:spChg chg="mod">
          <ac:chgData name="Lars Ivar Hatledal" userId="da83bdda-499a-4427-8775-f375be339a54" providerId="ADAL" clId="{D4F7D428-4D3F-4D7F-A708-D669671558DA}" dt="2021-03-15T18:36:46.219" v="17359"/>
          <ac:spMkLst>
            <pc:docMk/>
            <pc:sldMk cId="3664475662" sldId="501"/>
            <ac:spMk id="31" creationId="{67902148-D39E-41E3-896B-24D599B89D57}"/>
          </ac:spMkLst>
        </pc:spChg>
        <pc:spChg chg="add mod">
          <ac:chgData name="Lars Ivar Hatledal" userId="da83bdda-499a-4427-8775-f375be339a54" providerId="ADAL" clId="{D4F7D428-4D3F-4D7F-A708-D669671558DA}" dt="2021-03-14T17:05:20.232" v="12481" actId="20577"/>
          <ac:spMkLst>
            <pc:docMk/>
            <pc:sldMk cId="3664475662" sldId="501"/>
            <ac:spMk id="31" creationId="{B03F4627-69B5-4096-B8EE-C6AA06759AB5}"/>
          </ac:spMkLst>
        </pc:spChg>
        <pc:spChg chg="mod">
          <ac:chgData name="Lars Ivar Hatledal" userId="da83bdda-499a-4427-8775-f375be339a54" providerId="ADAL" clId="{D4F7D428-4D3F-4D7F-A708-D669671558DA}" dt="2021-03-15T18:36:46.219" v="17359"/>
          <ac:spMkLst>
            <pc:docMk/>
            <pc:sldMk cId="3664475662" sldId="501"/>
            <ac:spMk id="32" creationId="{F10AEDB9-42C4-469E-8E45-ECFFDB07A317}"/>
          </ac:spMkLst>
        </pc:spChg>
        <pc:spChg chg="mod">
          <ac:chgData name="Lars Ivar Hatledal" userId="da83bdda-499a-4427-8775-f375be339a54" providerId="ADAL" clId="{D4F7D428-4D3F-4D7F-A708-D669671558DA}" dt="2021-03-15T18:36:46.219" v="17359"/>
          <ac:spMkLst>
            <pc:docMk/>
            <pc:sldMk cId="3664475662" sldId="501"/>
            <ac:spMk id="33" creationId="{66DAA19B-3CA6-47FA-A3A9-4CBD0A418092}"/>
          </ac:spMkLst>
        </pc:spChg>
        <pc:spChg chg="mod">
          <ac:chgData name="Lars Ivar Hatledal" userId="da83bdda-499a-4427-8775-f375be339a54" providerId="ADAL" clId="{D4F7D428-4D3F-4D7F-A708-D669671558DA}" dt="2021-03-15T18:36:46.219" v="17359"/>
          <ac:spMkLst>
            <pc:docMk/>
            <pc:sldMk cId="3664475662" sldId="501"/>
            <ac:spMk id="34" creationId="{3E18CE9B-36BC-4FFC-AF3D-F0E22B30D762}"/>
          </ac:spMkLst>
        </pc:spChg>
        <pc:spChg chg="mod">
          <ac:chgData name="Lars Ivar Hatledal" userId="da83bdda-499a-4427-8775-f375be339a54" providerId="ADAL" clId="{D4F7D428-4D3F-4D7F-A708-D669671558DA}" dt="2021-03-15T18:36:46.219" v="17359"/>
          <ac:spMkLst>
            <pc:docMk/>
            <pc:sldMk cId="3664475662" sldId="501"/>
            <ac:spMk id="35" creationId="{E1087EA7-7B8D-4062-9D66-3F2970BD5AB1}"/>
          </ac:spMkLst>
        </pc:spChg>
        <pc:spChg chg="mod">
          <ac:chgData name="Lars Ivar Hatledal" userId="da83bdda-499a-4427-8775-f375be339a54" providerId="ADAL" clId="{D4F7D428-4D3F-4D7F-A708-D669671558DA}" dt="2021-03-15T18:36:46.219" v="17359"/>
          <ac:spMkLst>
            <pc:docMk/>
            <pc:sldMk cId="3664475662" sldId="501"/>
            <ac:spMk id="36" creationId="{0443EDC0-3F49-4DDA-BBFB-A2D847B21189}"/>
          </ac:spMkLst>
        </pc:spChg>
        <pc:spChg chg="mod">
          <ac:chgData name="Lars Ivar Hatledal" userId="da83bdda-499a-4427-8775-f375be339a54" providerId="ADAL" clId="{D4F7D428-4D3F-4D7F-A708-D669671558DA}" dt="2021-03-15T18:36:46.219" v="17359"/>
          <ac:spMkLst>
            <pc:docMk/>
            <pc:sldMk cId="3664475662" sldId="501"/>
            <ac:spMk id="37" creationId="{B5408C0A-7DFB-4389-BEE9-5F2F99489F2B}"/>
          </ac:spMkLst>
        </pc:spChg>
        <pc:spChg chg="mod">
          <ac:chgData name="Lars Ivar Hatledal" userId="da83bdda-499a-4427-8775-f375be339a54" providerId="ADAL" clId="{D4F7D428-4D3F-4D7F-A708-D669671558DA}" dt="2021-03-15T18:36:46.219" v="17359"/>
          <ac:spMkLst>
            <pc:docMk/>
            <pc:sldMk cId="3664475662" sldId="501"/>
            <ac:spMk id="38" creationId="{D978FB4A-8D0A-407D-BDF6-BE1B98C6CE0E}"/>
          </ac:spMkLst>
        </pc:spChg>
        <pc:spChg chg="mod">
          <ac:chgData name="Lars Ivar Hatledal" userId="da83bdda-499a-4427-8775-f375be339a54" providerId="ADAL" clId="{D4F7D428-4D3F-4D7F-A708-D669671558DA}" dt="2021-03-15T18:36:46.219" v="17359"/>
          <ac:spMkLst>
            <pc:docMk/>
            <pc:sldMk cId="3664475662" sldId="501"/>
            <ac:spMk id="39" creationId="{550364A7-4705-49F8-801A-0B7DCCA6FDDC}"/>
          </ac:spMkLst>
        </pc:spChg>
        <pc:spChg chg="mod">
          <ac:chgData name="Lars Ivar Hatledal" userId="da83bdda-499a-4427-8775-f375be339a54" providerId="ADAL" clId="{D4F7D428-4D3F-4D7F-A708-D669671558DA}" dt="2021-03-18T20:48:25.310" v="26524" actId="207"/>
          <ac:spMkLst>
            <pc:docMk/>
            <pc:sldMk cId="3664475662" sldId="501"/>
            <ac:spMk id="45" creationId="{ABE05CC7-87A9-4E18-AEA7-3CFE48FBF726}"/>
          </ac:spMkLst>
        </pc:spChg>
        <pc:grpChg chg="add mod">
          <ac:chgData name="Lars Ivar Hatledal" userId="da83bdda-499a-4427-8775-f375be339a54" providerId="ADAL" clId="{D4F7D428-4D3F-4D7F-A708-D669671558DA}" dt="2021-03-15T18:36:46.219" v="17359"/>
          <ac:grpSpMkLst>
            <pc:docMk/>
            <pc:sldMk cId="3664475662" sldId="501"/>
            <ac:grpSpMk id="24" creationId="{B1C726E2-7F76-4AF3-B818-B662C920ACE9}"/>
          </ac:grpSpMkLst>
        </pc:grpChg>
        <pc:grpChg chg="mod">
          <ac:chgData name="Lars Ivar Hatledal" userId="da83bdda-499a-4427-8775-f375be339a54" providerId="ADAL" clId="{D4F7D428-4D3F-4D7F-A708-D669671558DA}" dt="2021-03-15T18:36:46.219" v="17359"/>
          <ac:grpSpMkLst>
            <pc:docMk/>
            <pc:sldMk cId="3664475662" sldId="501"/>
            <ac:grpSpMk id="25" creationId="{BBB6F9ED-03F8-4450-A45C-9E9FC96BAACA}"/>
          </ac:grpSpMkLst>
        </pc:grpChg>
        <pc:grpChg chg="mod">
          <ac:chgData name="Lars Ivar Hatledal" userId="da83bdda-499a-4427-8775-f375be339a54" providerId="ADAL" clId="{D4F7D428-4D3F-4D7F-A708-D669671558DA}" dt="2021-03-15T18:36:46.219" v="17359"/>
          <ac:grpSpMkLst>
            <pc:docMk/>
            <pc:sldMk cId="3664475662" sldId="501"/>
            <ac:grpSpMk id="26" creationId="{DEEB90AE-A58B-4F51-B896-35AD9939E91F}"/>
          </ac:grpSpMkLst>
        </pc:grpChg>
        <pc:grpChg chg="mod">
          <ac:chgData name="Lars Ivar Hatledal" userId="da83bdda-499a-4427-8775-f375be339a54" providerId="ADAL" clId="{D4F7D428-4D3F-4D7F-A708-D669671558DA}" dt="2021-03-15T18:36:46.219" v="17359"/>
          <ac:grpSpMkLst>
            <pc:docMk/>
            <pc:sldMk cId="3664475662" sldId="501"/>
            <ac:grpSpMk id="27" creationId="{09B969B7-D4C8-4B33-A007-0FDDC1442496}"/>
          </ac:grpSpMkLst>
        </pc:grpChg>
        <pc:grpChg chg="mod">
          <ac:chgData name="Lars Ivar Hatledal" userId="da83bdda-499a-4427-8775-f375be339a54" providerId="ADAL" clId="{D4F7D428-4D3F-4D7F-A708-D669671558DA}" dt="2021-03-15T18:36:46.219" v="17359"/>
          <ac:grpSpMkLst>
            <pc:docMk/>
            <pc:sldMk cId="3664475662" sldId="501"/>
            <ac:grpSpMk id="28" creationId="{111AD755-9F65-4226-9FEB-9A4A4DF15C66}"/>
          </ac:grpSpMkLst>
        </pc:grpChg>
        <pc:grpChg chg="mod">
          <ac:chgData name="Lars Ivar Hatledal" userId="da83bdda-499a-4427-8775-f375be339a54" providerId="ADAL" clId="{D4F7D428-4D3F-4D7F-A708-D669671558DA}" dt="2021-03-15T18:36:46.219" v="17359"/>
          <ac:grpSpMkLst>
            <pc:docMk/>
            <pc:sldMk cId="3664475662" sldId="501"/>
            <ac:grpSpMk id="29" creationId="{CC93FEE1-8E95-41F9-A409-45FD24BE2E6A}"/>
          </ac:grpSpMkLst>
        </pc:grpChg>
        <pc:grpChg chg="del">
          <ac:chgData name="Lars Ivar Hatledal" userId="da83bdda-499a-4427-8775-f375be339a54" providerId="ADAL" clId="{D4F7D428-4D3F-4D7F-A708-D669671558DA}" dt="2021-03-15T18:36:45.838" v="17358" actId="478"/>
          <ac:grpSpMkLst>
            <pc:docMk/>
            <pc:sldMk cId="3664475662" sldId="501"/>
            <ac:grpSpMk id="67" creationId="{1B44D0C0-55AA-4E10-8606-47DE89D7B1DB}"/>
          </ac:grpSpMkLst>
        </pc:grpChg>
        <pc:graphicFrameChg chg="add del mod">
          <ac:chgData name="Lars Ivar Hatledal" userId="da83bdda-499a-4427-8775-f375be339a54" providerId="ADAL" clId="{D4F7D428-4D3F-4D7F-A708-D669671558DA}" dt="2021-03-11T09:47:36.321" v="3704" actId="478"/>
          <ac:graphicFrameMkLst>
            <pc:docMk/>
            <pc:sldMk cId="3664475662" sldId="501"/>
            <ac:graphicFrameMk id="3" creationId="{976C77F9-0631-4B41-9974-904C3F5667F0}"/>
          </ac:graphicFrameMkLst>
        </pc:graphicFrameChg>
        <pc:picChg chg="add mod">
          <ac:chgData name="Lars Ivar Hatledal" userId="da83bdda-499a-4427-8775-f375be339a54" providerId="ADAL" clId="{D4F7D428-4D3F-4D7F-A708-D669671558DA}" dt="2021-03-17T14:34:17.015" v="18192" actId="1076"/>
          <ac:picMkLst>
            <pc:docMk/>
            <pc:sldMk cId="3664475662" sldId="501"/>
            <ac:picMk id="2" creationId="{0A3C0E58-03FF-43E7-A18F-43C94C971FE6}"/>
          </ac:picMkLst>
        </pc:picChg>
        <pc:picChg chg="add mod">
          <ac:chgData name="Lars Ivar Hatledal" userId="da83bdda-499a-4427-8775-f375be339a54" providerId="ADAL" clId="{D4F7D428-4D3F-4D7F-A708-D669671558DA}" dt="2021-03-14T17:05:32.355" v="12483" actId="1076"/>
          <ac:picMkLst>
            <pc:docMk/>
            <pc:sldMk cId="3664475662" sldId="501"/>
            <ac:picMk id="4" creationId="{06E4D40C-FEB0-4FFF-BAB3-E481C96DBF5C}"/>
          </ac:picMkLst>
        </pc:picChg>
        <pc:picChg chg="add mod">
          <ac:chgData name="Lars Ivar Hatledal" userId="da83bdda-499a-4427-8775-f375be339a54" providerId="ADAL" clId="{D4F7D428-4D3F-4D7F-A708-D669671558DA}" dt="2021-03-16T07:56:00.422" v="18133" actId="1076"/>
          <ac:picMkLst>
            <pc:docMk/>
            <pc:sldMk cId="3664475662" sldId="501"/>
            <ac:picMk id="40" creationId="{4DFE1604-1A77-4AEC-89B3-8C1B29B6197F}"/>
          </ac:picMkLst>
        </pc:picChg>
        <pc:picChg chg="add del mod">
          <ac:chgData name="Lars Ivar Hatledal" userId="da83bdda-499a-4427-8775-f375be339a54" providerId="ADAL" clId="{D4F7D428-4D3F-4D7F-A708-D669671558DA}" dt="2021-03-16T07:55:37.052" v="18125" actId="478"/>
          <ac:picMkLst>
            <pc:docMk/>
            <pc:sldMk cId="3664475662" sldId="501"/>
            <ac:picMk id="41" creationId="{8F2BBEBA-0644-446F-90E6-C57B0027A94A}"/>
          </ac:picMkLst>
        </pc:picChg>
        <pc:picChg chg="add mod">
          <ac:chgData name="Lars Ivar Hatledal" userId="da83bdda-499a-4427-8775-f375be339a54" providerId="ADAL" clId="{D4F7D428-4D3F-4D7F-A708-D669671558DA}" dt="2021-03-16T07:56:03.773" v="18134" actId="1076"/>
          <ac:picMkLst>
            <pc:docMk/>
            <pc:sldMk cId="3664475662" sldId="501"/>
            <ac:picMk id="44" creationId="{81ED99F9-F048-4BCC-AFC6-AD172721F83A}"/>
          </ac:picMkLst>
        </pc:picChg>
      </pc:sldChg>
      <pc:sldChg chg="add del">
        <pc:chgData name="Lars Ivar Hatledal" userId="da83bdda-499a-4427-8775-f375be339a54" providerId="ADAL" clId="{D4F7D428-4D3F-4D7F-A708-D669671558DA}" dt="2021-03-05T08:12:45.856" v="355" actId="47"/>
        <pc:sldMkLst>
          <pc:docMk/>
          <pc:sldMk cId="194722649" sldId="502"/>
        </pc:sldMkLst>
      </pc:sldChg>
      <pc:sldChg chg="addSp delSp modSp add mod">
        <pc:chgData name="Lars Ivar Hatledal" userId="da83bdda-499a-4427-8775-f375be339a54" providerId="ADAL" clId="{D4F7D428-4D3F-4D7F-A708-D669671558DA}" dt="2021-03-18T18:30:23.853" v="22727" actId="20577"/>
        <pc:sldMkLst>
          <pc:docMk/>
          <pc:sldMk cId="654040728" sldId="502"/>
        </pc:sldMkLst>
        <pc:spChg chg="add mod">
          <ac:chgData name="Lars Ivar Hatledal" userId="da83bdda-499a-4427-8775-f375be339a54" providerId="ADAL" clId="{D4F7D428-4D3F-4D7F-A708-D669671558DA}" dt="2021-03-18T18:30:23.853" v="22727" actId="20577"/>
          <ac:spMkLst>
            <pc:docMk/>
            <pc:sldMk cId="654040728" sldId="502"/>
            <ac:spMk id="21" creationId="{52CF71B7-A19E-4AEC-ABB6-CC3C57332298}"/>
          </ac:spMkLst>
        </pc:spChg>
        <pc:spChg chg="mod">
          <ac:chgData name="Lars Ivar Hatledal" userId="da83bdda-499a-4427-8775-f375be339a54" providerId="ADAL" clId="{D4F7D428-4D3F-4D7F-A708-D669671558DA}" dt="2021-03-18T18:25:40.993" v="22726" actId="20577"/>
          <ac:spMkLst>
            <pc:docMk/>
            <pc:sldMk cId="654040728" sldId="502"/>
            <ac:spMk id="26" creationId="{F7012B31-D035-4588-A480-DACDA83B843C}"/>
          </ac:spMkLst>
        </pc:spChg>
        <pc:spChg chg="mod">
          <ac:chgData name="Lars Ivar Hatledal" userId="da83bdda-499a-4427-8775-f375be339a54" providerId="ADAL" clId="{D4F7D428-4D3F-4D7F-A708-D669671558DA}" dt="2021-03-09T11:59:56.449" v="1232" actId="20577"/>
          <ac:spMkLst>
            <pc:docMk/>
            <pc:sldMk cId="654040728" sldId="502"/>
            <ac:spMk id="28" creationId="{48703A56-96F6-4216-B29F-75E1A68FEBED}"/>
          </ac:spMkLst>
        </pc:spChg>
        <pc:spChg chg="mod">
          <ac:chgData name="Lars Ivar Hatledal" userId="da83bdda-499a-4427-8775-f375be339a54" providerId="ADAL" clId="{D4F7D428-4D3F-4D7F-A708-D669671558DA}" dt="2021-03-14T18:47:42.500" v="14695"/>
          <ac:spMkLst>
            <pc:docMk/>
            <pc:sldMk cId="654040728" sldId="502"/>
            <ac:spMk id="47" creationId="{6C356EA8-244C-43FE-B9CB-29498F936496}"/>
          </ac:spMkLst>
        </pc:spChg>
        <pc:spChg chg="mod">
          <ac:chgData name="Lars Ivar Hatledal" userId="da83bdda-499a-4427-8775-f375be339a54" providerId="ADAL" clId="{D4F7D428-4D3F-4D7F-A708-D669671558DA}" dt="2021-03-14T18:47:42.500" v="14695"/>
          <ac:spMkLst>
            <pc:docMk/>
            <pc:sldMk cId="654040728" sldId="502"/>
            <ac:spMk id="48" creationId="{9D47C256-5F5C-4CC2-ABD1-1020C8DCED15}"/>
          </ac:spMkLst>
        </pc:spChg>
        <pc:spChg chg="mod">
          <ac:chgData name="Lars Ivar Hatledal" userId="da83bdda-499a-4427-8775-f375be339a54" providerId="ADAL" clId="{D4F7D428-4D3F-4D7F-A708-D669671558DA}" dt="2021-03-14T18:47:42.500" v="14695"/>
          <ac:spMkLst>
            <pc:docMk/>
            <pc:sldMk cId="654040728" sldId="502"/>
            <ac:spMk id="49" creationId="{90218DC2-8A99-4B87-A5EA-413E2034627E}"/>
          </ac:spMkLst>
        </pc:spChg>
        <pc:spChg chg="mod">
          <ac:chgData name="Lars Ivar Hatledal" userId="da83bdda-499a-4427-8775-f375be339a54" providerId="ADAL" clId="{D4F7D428-4D3F-4D7F-A708-D669671558DA}" dt="2021-03-14T18:47:42.500" v="14695"/>
          <ac:spMkLst>
            <pc:docMk/>
            <pc:sldMk cId="654040728" sldId="502"/>
            <ac:spMk id="50" creationId="{08747129-7348-4222-A17B-930D2E1467EA}"/>
          </ac:spMkLst>
        </pc:spChg>
        <pc:spChg chg="mod">
          <ac:chgData name="Lars Ivar Hatledal" userId="da83bdda-499a-4427-8775-f375be339a54" providerId="ADAL" clId="{D4F7D428-4D3F-4D7F-A708-D669671558DA}" dt="2021-03-14T18:47:42.500" v="14695"/>
          <ac:spMkLst>
            <pc:docMk/>
            <pc:sldMk cId="654040728" sldId="502"/>
            <ac:spMk id="51" creationId="{FF230BAF-F918-4375-8EC8-5910F21B9637}"/>
          </ac:spMkLst>
        </pc:spChg>
        <pc:spChg chg="mod">
          <ac:chgData name="Lars Ivar Hatledal" userId="da83bdda-499a-4427-8775-f375be339a54" providerId="ADAL" clId="{D4F7D428-4D3F-4D7F-A708-D669671558DA}" dt="2021-03-14T18:47:42.500" v="14695"/>
          <ac:spMkLst>
            <pc:docMk/>
            <pc:sldMk cId="654040728" sldId="502"/>
            <ac:spMk id="52" creationId="{1086E9A2-B7D7-4EE5-A96C-6EFFCE66DAE5}"/>
          </ac:spMkLst>
        </pc:spChg>
        <pc:spChg chg="mod">
          <ac:chgData name="Lars Ivar Hatledal" userId="da83bdda-499a-4427-8775-f375be339a54" providerId="ADAL" clId="{D4F7D428-4D3F-4D7F-A708-D669671558DA}" dt="2021-03-14T18:47:42.500" v="14695"/>
          <ac:spMkLst>
            <pc:docMk/>
            <pc:sldMk cId="654040728" sldId="502"/>
            <ac:spMk id="53" creationId="{86D9F00D-A98E-4DDE-A68D-B3E39E2B5BA9}"/>
          </ac:spMkLst>
        </pc:spChg>
        <pc:spChg chg="mod">
          <ac:chgData name="Lars Ivar Hatledal" userId="da83bdda-499a-4427-8775-f375be339a54" providerId="ADAL" clId="{D4F7D428-4D3F-4D7F-A708-D669671558DA}" dt="2021-03-14T18:47:42.500" v="14695"/>
          <ac:spMkLst>
            <pc:docMk/>
            <pc:sldMk cId="654040728" sldId="502"/>
            <ac:spMk id="54" creationId="{7AFFDC6B-0AD5-444B-B931-B59F3E1EC52B}"/>
          </ac:spMkLst>
        </pc:spChg>
        <pc:spChg chg="mod">
          <ac:chgData name="Lars Ivar Hatledal" userId="da83bdda-499a-4427-8775-f375be339a54" providerId="ADAL" clId="{D4F7D428-4D3F-4D7F-A708-D669671558DA}" dt="2021-03-14T18:47:42.500" v="14695"/>
          <ac:spMkLst>
            <pc:docMk/>
            <pc:sldMk cId="654040728" sldId="502"/>
            <ac:spMk id="55" creationId="{5B283B9B-729F-4D0F-9CD3-38A99A059CCD}"/>
          </ac:spMkLst>
        </pc:spChg>
        <pc:spChg chg="mod">
          <ac:chgData name="Lars Ivar Hatledal" userId="da83bdda-499a-4427-8775-f375be339a54" providerId="ADAL" clId="{D4F7D428-4D3F-4D7F-A708-D669671558DA}" dt="2021-03-14T18:47:42.500" v="14695"/>
          <ac:spMkLst>
            <pc:docMk/>
            <pc:sldMk cId="654040728" sldId="502"/>
            <ac:spMk id="56" creationId="{F2A52290-B57B-48BC-841A-2F5AEC2FE9DB}"/>
          </ac:spMkLst>
        </pc:spChg>
        <pc:grpChg chg="add mod">
          <ac:chgData name="Lars Ivar Hatledal" userId="da83bdda-499a-4427-8775-f375be339a54" providerId="ADAL" clId="{D4F7D428-4D3F-4D7F-A708-D669671558DA}" dt="2021-03-14T18:47:42.500" v="14695"/>
          <ac:grpSpMkLst>
            <pc:docMk/>
            <pc:sldMk cId="654040728" sldId="502"/>
            <ac:grpSpMk id="23" creationId="{53245970-5595-4D0C-B838-7A7AC31CD91A}"/>
          </ac:grpSpMkLst>
        </pc:grpChg>
        <pc:grpChg chg="mod">
          <ac:chgData name="Lars Ivar Hatledal" userId="da83bdda-499a-4427-8775-f375be339a54" providerId="ADAL" clId="{D4F7D428-4D3F-4D7F-A708-D669671558DA}" dt="2021-03-14T18:47:42.500" v="14695"/>
          <ac:grpSpMkLst>
            <pc:docMk/>
            <pc:sldMk cId="654040728" sldId="502"/>
            <ac:grpSpMk id="24" creationId="{954D7A4E-A16D-4B6F-960F-B1910F372C90}"/>
          </ac:grpSpMkLst>
        </pc:grpChg>
        <pc:grpChg chg="del">
          <ac:chgData name="Lars Ivar Hatledal" userId="da83bdda-499a-4427-8775-f375be339a54" providerId="ADAL" clId="{D4F7D428-4D3F-4D7F-A708-D669671558DA}" dt="2021-03-14T18:47:42.130" v="14694" actId="478"/>
          <ac:grpSpMkLst>
            <pc:docMk/>
            <pc:sldMk cId="654040728" sldId="502"/>
            <ac:grpSpMk id="25" creationId="{0F9B27B9-640B-4A52-AAF6-8A48C7C5619E}"/>
          </ac:grpSpMkLst>
        </pc:grpChg>
        <pc:grpChg chg="mod">
          <ac:chgData name="Lars Ivar Hatledal" userId="da83bdda-499a-4427-8775-f375be339a54" providerId="ADAL" clId="{D4F7D428-4D3F-4D7F-A708-D669671558DA}" dt="2021-03-14T18:47:42.500" v="14695"/>
          <ac:grpSpMkLst>
            <pc:docMk/>
            <pc:sldMk cId="654040728" sldId="502"/>
            <ac:grpSpMk id="43" creationId="{7A051B9C-0700-4BAD-A4DB-4129308F28B4}"/>
          </ac:grpSpMkLst>
        </pc:grpChg>
        <pc:grpChg chg="mod">
          <ac:chgData name="Lars Ivar Hatledal" userId="da83bdda-499a-4427-8775-f375be339a54" providerId="ADAL" clId="{D4F7D428-4D3F-4D7F-A708-D669671558DA}" dt="2021-03-14T18:47:42.500" v="14695"/>
          <ac:grpSpMkLst>
            <pc:docMk/>
            <pc:sldMk cId="654040728" sldId="502"/>
            <ac:grpSpMk id="44" creationId="{3E3DBCCA-6275-44A4-B126-B7CBCA586A00}"/>
          </ac:grpSpMkLst>
        </pc:grpChg>
        <pc:grpChg chg="mod">
          <ac:chgData name="Lars Ivar Hatledal" userId="da83bdda-499a-4427-8775-f375be339a54" providerId="ADAL" clId="{D4F7D428-4D3F-4D7F-A708-D669671558DA}" dt="2021-03-14T18:47:42.500" v="14695"/>
          <ac:grpSpMkLst>
            <pc:docMk/>
            <pc:sldMk cId="654040728" sldId="502"/>
            <ac:grpSpMk id="45" creationId="{128BFA11-2F57-4DDB-9F94-D34C186BA8B2}"/>
          </ac:grpSpMkLst>
        </pc:grpChg>
        <pc:grpChg chg="mod">
          <ac:chgData name="Lars Ivar Hatledal" userId="da83bdda-499a-4427-8775-f375be339a54" providerId="ADAL" clId="{D4F7D428-4D3F-4D7F-A708-D669671558DA}" dt="2021-03-14T18:47:42.500" v="14695"/>
          <ac:grpSpMkLst>
            <pc:docMk/>
            <pc:sldMk cId="654040728" sldId="502"/>
            <ac:grpSpMk id="46" creationId="{F683219A-B37B-4A65-9970-AB5DB74E6F0A}"/>
          </ac:grpSpMkLst>
        </pc:grpChg>
        <pc:cxnChg chg="add mod">
          <ac:chgData name="Lars Ivar Hatledal" userId="da83bdda-499a-4427-8775-f375be339a54" providerId="ADAL" clId="{D4F7D428-4D3F-4D7F-A708-D669671558DA}" dt="2021-03-14T16:15:12.583" v="11379" actId="14861"/>
          <ac:cxnSpMkLst>
            <pc:docMk/>
            <pc:sldMk cId="654040728" sldId="502"/>
            <ac:cxnSpMk id="3" creationId="{0D0ADDF3-B537-4581-950E-D606712EE179}"/>
          </ac:cxnSpMkLst>
        </pc:cxnChg>
      </pc:sldChg>
      <pc:sldChg chg="modSp add del mod">
        <pc:chgData name="Lars Ivar Hatledal" userId="da83bdda-499a-4427-8775-f375be339a54" providerId="ADAL" clId="{D4F7D428-4D3F-4D7F-A708-D669671558DA}" dt="2021-03-09T10:11:39.369" v="1026" actId="47"/>
        <pc:sldMkLst>
          <pc:docMk/>
          <pc:sldMk cId="1058986139" sldId="502"/>
        </pc:sldMkLst>
        <pc:spChg chg="mod">
          <ac:chgData name="Lars Ivar Hatledal" userId="da83bdda-499a-4427-8775-f375be339a54" providerId="ADAL" clId="{D4F7D428-4D3F-4D7F-A708-D669671558DA}" dt="2021-03-05T08:21:20.289" v="815" actId="20577"/>
          <ac:spMkLst>
            <pc:docMk/>
            <pc:sldMk cId="1058986139" sldId="502"/>
            <ac:spMk id="28" creationId="{48703A56-96F6-4216-B29F-75E1A68FEBED}"/>
          </ac:spMkLst>
        </pc:spChg>
      </pc:sldChg>
      <pc:sldChg chg="addSp delSp modSp add mod modNotesTx">
        <pc:chgData name="Lars Ivar Hatledal" userId="da83bdda-499a-4427-8775-f375be339a54" providerId="ADAL" clId="{D4F7D428-4D3F-4D7F-A708-D669671558DA}" dt="2021-03-18T23:38:42.736" v="31030" actId="5793"/>
        <pc:sldMkLst>
          <pc:docMk/>
          <pc:sldMk cId="1043329679" sldId="503"/>
        </pc:sldMkLst>
        <pc:spChg chg="add del mod">
          <ac:chgData name="Lars Ivar Hatledal" userId="da83bdda-499a-4427-8775-f375be339a54" providerId="ADAL" clId="{D4F7D428-4D3F-4D7F-A708-D669671558DA}" dt="2021-03-18T18:56:18.810" v="22742" actId="403"/>
          <ac:spMkLst>
            <pc:docMk/>
            <pc:sldMk cId="1043329679" sldId="503"/>
            <ac:spMk id="21" creationId="{E8BFC185-BD76-40F0-855E-6B5E5846BDDA}"/>
          </ac:spMkLst>
        </pc:spChg>
        <pc:spChg chg="del mod">
          <ac:chgData name="Lars Ivar Hatledal" userId="da83bdda-499a-4427-8775-f375be339a54" providerId="ADAL" clId="{D4F7D428-4D3F-4D7F-A708-D669671558DA}" dt="2021-03-13T15:08:35.059" v="5145"/>
          <ac:spMkLst>
            <pc:docMk/>
            <pc:sldMk cId="1043329679" sldId="503"/>
            <ac:spMk id="26" creationId="{F7012B31-D035-4588-A480-DACDA83B843C}"/>
          </ac:spMkLst>
        </pc:spChg>
        <pc:spChg chg="mod">
          <ac:chgData name="Lars Ivar Hatledal" userId="da83bdda-499a-4427-8775-f375be339a54" providerId="ADAL" clId="{D4F7D428-4D3F-4D7F-A708-D669671558DA}" dt="2021-03-11T13:43:02.542" v="4344" actId="207"/>
          <ac:spMkLst>
            <pc:docMk/>
            <pc:sldMk cId="1043329679" sldId="503"/>
            <ac:spMk id="28" creationId="{48703A56-96F6-4216-B29F-75E1A68FEBED}"/>
          </ac:spMkLst>
        </pc:spChg>
        <pc:spChg chg="del">
          <ac:chgData name="Lars Ivar Hatledal" userId="da83bdda-499a-4427-8775-f375be339a54" providerId="ADAL" clId="{D4F7D428-4D3F-4D7F-A708-D669671558DA}" dt="2021-03-14T18:47:51.750" v="14698" actId="478"/>
          <ac:spMkLst>
            <pc:docMk/>
            <pc:sldMk cId="1043329679" sldId="503"/>
            <ac:spMk id="30" creationId="{17EFA1EB-8BE9-49C4-945C-3B3803FFE205}"/>
          </ac:spMkLst>
        </pc:spChg>
        <pc:spChg chg="mod">
          <ac:chgData name="Lars Ivar Hatledal" userId="da83bdda-499a-4427-8775-f375be339a54" providerId="ADAL" clId="{D4F7D428-4D3F-4D7F-A708-D669671558DA}" dt="2021-03-14T18:47:54.670" v="14700"/>
          <ac:spMkLst>
            <pc:docMk/>
            <pc:sldMk cId="1043329679" sldId="503"/>
            <ac:spMk id="45" creationId="{B37F0754-FFCB-4FEE-9AA4-01C3A83B5662}"/>
          </ac:spMkLst>
        </pc:spChg>
        <pc:spChg chg="mod">
          <ac:chgData name="Lars Ivar Hatledal" userId="da83bdda-499a-4427-8775-f375be339a54" providerId="ADAL" clId="{D4F7D428-4D3F-4D7F-A708-D669671558DA}" dt="2021-03-14T18:47:54.670" v="14700"/>
          <ac:spMkLst>
            <pc:docMk/>
            <pc:sldMk cId="1043329679" sldId="503"/>
            <ac:spMk id="46" creationId="{1225A779-9B09-4FBA-BDDD-FB4E510DF028}"/>
          </ac:spMkLst>
        </pc:spChg>
        <pc:spChg chg="mod">
          <ac:chgData name="Lars Ivar Hatledal" userId="da83bdda-499a-4427-8775-f375be339a54" providerId="ADAL" clId="{D4F7D428-4D3F-4D7F-A708-D669671558DA}" dt="2021-03-14T18:47:54.670" v="14700"/>
          <ac:spMkLst>
            <pc:docMk/>
            <pc:sldMk cId="1043329679" sldId="503"/>
            <ac:spMk id="47" creationId="{1263DAA0-EEC1-4941-8782-D232B3F94E0D}"/>
          </ac:spMkLst>
        </pc:spChg>
        <pc:spChg chg="mod">
          <ac:chgData name="Lars Ivar Hatledal" userId="da83bdda-499a-4427-8775-f375be339a54" providerId="ADAL" clId="{D4F7D428-4D3F-4D7F-A708-D669671558DA}" dt="2021-03-14T18:47:54.670" v="14700"/>
          <ac:spMkLst>
            <pc:docMk/>
            <pc:sldMk cId="1043329679" sldId="503"/>
            <ac:spMk id="48" creationId="{97E5A894-CCFC-468E-B366-E6D38DD622AE}"/>
          </ac:spMkLst>
        </pc:spChg>
        <pc:spChg chg="mod">
          <ac:chgData name="Lars Ivar Hatledal" userId="da83bdda-499a-4427-8775-f375be339a54" providerId="ADAL" clId="{D4F7D428-4D3F-4D7F-A708-D669671558DA}" dt="2021-03-14T18:47:54.670" v="14700"/>
          <ac:spMkLst>
            <pc:docMk/>
            <pc:sldMk cId="1043329679" sldId="503"/>
            <ac:spMk id="49" creationId="{0E918E8E-D306-4934-94B4-8E3A98630D40}"/>
          </ac:spMkLst>
        </pc:spChg>
        <pc:spChg chg="mod">
          <ac:chgData name="Lars Ivar Hatledal" userId="da83bdda-499a-4427-8775-f375be339a54" providerId="ADAL" clId="{D4F7D428-4D3F-4D7F-A708-D669671558DA}" dt="2021-03-14T18:47:54.670" v="14700"/>
          <ac:spMkLst>
            <pc:docMk/>
            <pc:sldMk cId="1043329679" sldId="503"/>
            <ac:spMk id="50" creationId="{284F9839-38A6-4463-B39B-939CDFCF2D73}"/>
          </ac:spMkLst>
        </pc:spChg>
        <pc:spChg chg="mod">
          <ac:chgData name="Lars Ivar Hatledal" userId="da83bdda-499a-4427-8775-f375be339a54" providerId="ADAL" clId="{D4F7D428-4D3F-4D7F-A708-D669671558DA}" dt="2021-03-14T18:47:54.670" v="14700"/>
          <ac:spMkLst>
            <pc:docMk/>
            <pc:sldMk cId="1043329679" sldId="503"/>
            <ac:spMk id="51" creationId="{46CB8211-3057-4BF1-9B66-4955AB0A3EC1}"/>
          </ac:spMkLst>
        </pc:spChg>
        <pc:spChg chg="mod">
          <ac:chgData name="Lars Ivar Hatledal" userId="da83bdda-499a-4427-8775-f375be339a54" providerId="ADAL" clId="{D4F7D428-4D3F-4D7F-A708-D669671558DA}" dt="2021-03-14T18:47:54.670" v="14700"/>
          <ac:spMkLst>
            <pc:docMk/>
            <pc:sldMk cId="1043329679" sldId="503"/>
            <ac:spMk id="52" creationId="{DA51E457-BD55-49A7-8A96-B22057E159E8}"/>
          </ac:spMkLst>
        </pc:spChg>
        <pc:spChg chg="mod">
          <ac:chgData name="Lars Ivar Hatledal" userId="da83bdda-499a-4427-8775-f375be339a54" providerId="ADAL" clId="{D4F7D428-4D3F-4D7F-A708-D669671558DA}" dt="2021-03-14T18:47:54.670" v="14700"/>
          <ac:spMkLst>
            <pc:docMk/>
            <pc:sldMk cId="1043329679" sldId="503"/>
            <ac:spMk id="53" creationId="{566D4421-1840-43BA-B5CE-ACF2F8430202}"/>
          </ac:spMkLst>
        </pc:spChg>
        <pc:spChg chg="mod">
          <ac:chgData name="Lars Ivar Hatledal" userId="da83bdda-499a-4427-8775-f375be339a54" providerId="ADAL" clId="{D4F7D428-4D3F-4D7F-A708-D669671558DA}" dt="2021-03-14T18:47:54.670" v="14700"/>
          <ac:spMkLst>
            <pc:docMk/>
            <pc:sldMk cId="1043329679" sldId="503"/>
            <ac:spMk id="54" creationId="{03E04423-6408-4F27-A585-051CF568DD97}"/>
          </ac:spMkLst>
        </pc:spChg>
        <pc:grpChg chg="add mod">
          <ac:chgData name="Lars Ivar Hatledal" userId="da83bdda-499a-4427-8775-f375be339a54" providerId="ADAL" clId="{D4F7D428-4D3F-4D7F-A708-D669671558DA}" dt="2021-03-14T18:47:54.670" v="14700"/>
          <ac:grpSpMkLst>
            <pc:docMk/>
            <pc:sldMk cId="1043329679" sldId="503"/>
            <ac:grpSpMk id="22" creationId="{16C6BBA4-EA41-43EA-9208-C687B0078E5B}"/>
          </ac:grpSpMkLst>
        </pc:grpChg>
        <pc:grpChg chg="mod">
          <ac:chgData name="Lars Ivar Hatledal" userId="da83bdda-499a-4427-8775-f375be339a54" providerId="ADAL" clId="{D4F7D428-4D3F-4D7F-A708-D669671558DA}" dt="2021-03-14T18:47:54.670" v="14700"/>
          <ac:grpSpMkLst>
            <pc:docMk/>
            <pc:sldMk cId="1043329679" sldId="503"/>
            <ac:grpSpMk id="23" creationId="{E1B0E9C1-A4F5-4502-AF44-3CCBB2FCE8A5}"/>
          </ac:grpSpMkLst>
        </pc:grpChg>
        <pc:grpChg chg="mod">
          <ac:chgData name="Lars Ivar Hatledal" userId="da83bdda-499a-4427-8775-f375be339a54" providerId="ADAL" clId="{D4F7D428-4D3F-4D7F-A708-D669671558DA}" dt="2021-03-14T18:47:54.670" v="14700"/>
          <ac:grpSpMkLst>
            <pc:docMk/>
            <pc:sldMk cId="1043329679" sldId="503"/>
            <ac:grpSpMk id="24" creationId="{86D1F93E-4A24-4C49-B439-82EE97A03834}"/>
          </ac:grpSpMkLst>
        </pc:grpChg>
        <pc:grpChg chg="del">
          <ac:chgData name="Lars Ivar Hatledal" userId="da83bdda-499a-4427-8775-f375be339a54" providerId="ADAL" clId="{D4F7D428-4D3F-4D7F-A708-D669671558DA}" dt="2021-03-14T18:47:53.680" v="14699" actId="478"/>
          <ac:grpSpMkLst>
            <pc:docMk/>
            <pc:sldMk cId="1043329679" sldId="503"/>
            <ac:grpSpMk id="25" creationId="{0F9B27B9-640B-4A52-AAF6-8A48C7C5619E}"/>
          </ac:grpSpMkLst>
        </pc:grpChg>
        <pc:grpChg chg="mod">
          <ac:chgData name="Lars Ivar Hatledal" userId="da83bdda-499a-4427-8775-f375be339a54" providerId="ADAL" clId="{D4F7D428-4D3F-4D7F-A708-D669671558DA}" dt="2021-03-14T18:47:54.670" v="14700"/>
          <ac:grpSpMkLst>
            <pc:docMk/>
            <pc:sldMk cId="1043329679" sldId="503"/>
            <ac:grpSpMk id="26" creationId="{6571EC82-0575-4634-831C-E69E9BC77220}"/>
          </ac:grpSpMkLst>
        </pc:grpChg>
        <pc:grpChg chg="mod">
          <ac:chgData name="Lars Ivar Hatledal" userId="da83bdda-499a-4427-8775-f375be339a54" providerId="ADAL" clId="{D4F7D428-4D3F-4D7F-A708-D669671558DA}" dt="2021-03-14T18:47:54.670" v="14700"/>
          <ac:grpSpMkLst>
            <pc:docMk/>
            <pc:sldMk cId="1043329679" sldId="503"/>
            <ac:grpSpMk id="43" creationId="{7D189398-AC5B-49AC-8BD9-41DFD5A805F4}"/>
          </ac:grpSpMkLst>
        </pc:grpChg>
        <pc:grpChg chg="mod">
          <ac:chgData name="Lars Ivar Hatledal" userId="da83bdda-499a-4427-8775-f375be339a54" providerId="ADAL" clId="{D4F7D428-4D3F-4D7F-A708-D669671558DA}" dt="2021-03-14T18:47:54.670" v="14700"/>
          <ac:grpSpMkLst>
            <pc:docMk/>
            <pc:sldMk cId="1043329679" sldId="503"/>
            <ac:grpSpMk id="44" creationId="{8D89668F-8B7B-4054-9BBA-F2746BC06266}"/>
          </ac:grpSpMkLst>
        </pc:grpChg>
        <pc:cxnChg chg="mod">
          <ac:chgData name="Lars Ivar Hatledal" userId="da83bdda-499a-4427-8775-f375be339a54" providerId="ADAL" clId="{D4F7D428-4D3F-4D7F-A708-D669671558DA}" dt="2021-03-13T17:49:17.787" v="7387" actId="1076"/>
          <ac:cxnSpMkLst>
            <pc:docMk/>
            <pc:sldMk cId="1043329679" sldId="503"/>
            <ac:cxnSpMk id="27" creationId="{1FF9E454-F0A3-49B6-A937-51A5F4A2DD96}"/>
          </ac:cxnSpMkLst>
        </pc:cxnChg>
      </pc:sldChg>
      <pc:sldChg chg="add del">
        <pc:chgData name="Lars Ivar Hatledal" userId="da83bdda-499a-4427-8775-f375be339a54" providerId="ADAL" clId="{D4F7D428-4D3F-4D7F-A708-D669671558DA}" dt="2021-03-05T08:12:49.617" v="359" actId="47"/>
        <pc:sldMkLst>
          <pc:docMk/>
          <pc:sldMk cId="1699286562" sldId="503"/>
        </pc:sldMkLst>
      </pc:sldChg>
      <pc:sldChg chg="addSp modSp add mod modNotesTx">
        <pc:chgData name="Lars Ivar Hatledal" userId="da83bdda-499a-4427-8775-f375be339a54" providerId="ADAL" clId="{D4F7D428-4D3F-4D7F-A708-D669671558DA}" dt="2021-03-18T21:27:43.314" v="26724" actId="20577"/>
        <pc:sldMkLst>
          <pc:docMk/>
          <pc:sldMk cId="1770612176" sldId="504"/>
        </pc:sldMkLst>
        <pc:spChg chg="mod">
          <ac:chgData name="Lars Ivar Hatledal" userId="da83bdda-499a-4427-8775-f375be339a54" providerId="ADAL" clId="{D4F7D428-4D3F-4D7F-A708-D669671558DA}" dt="2021-03-18T20:11:40.707" v="25902" actId="403"/>
          <ac:spMkLst>
            <pc:docMk/>
            <pc:sldMk cId="1770612176" sldId="504"/>
            <ac:spMk id="26" creationId="{F7012B31-D035-4588-A480-DACDA83B843C}"/>
          </ac:spMkLst>
        </pc:spChg>
        <pc:spChg chg="mod">
          <ac:chgData name="Lars Ivar Hatledal" userId="da83bdda-499a-4427-8775-f375be339a54" providerId="ADAL" clId="{D4F7D428-4D3F-4D7F-A708-D669671558DA}" dt="2021-03-14T13:44:47.258" v="9082" actId="20577"/>
          <ac:spMkLst>
            <pc:docMk/>
            <pc:sldMk cId="1770612176" sldId="504"/>
            <ac:spMk id="28" creationId="{48703A56-96F6-4216-B29F-75E1A68FEBED}"/>
          </ac:spMkLst>
        </pc:spChg>
        <pc:picChg chg="add mod">
          <ac:chgData name="Lars Ivar Hatledal" userId="da83bdda-499a-4427-8775-f375be339a54" providerId="ADAL" clId="{D4F7D428-4D3F-4D7F-A708-D669671558DA}" dt="2021-03-18T20:11:48.912" v="25904" actId="1076"/>
          <ac:picMkLst>
            <pc:docMk/>
            <pc:sldMk cId="1770612176" sldId="504"/>
            <ac:picMk id="21" creationId="{FD7BBAB0-CDCB-45AF-A0DF-042D98208808}"/>
          </ac:picMkLst>
        </pc:picChg>
        <pc:picChg chg="add mod">
          <ac:chgData name="Lars Ivar Hatledal" userId="da83bdda-499a-4427-8775-f375be339a54" providerId="ADAL" clId="{D4F7D428-4D3F-4D7F-A708-D669671558DA}" dt="2021-03-18T20:11:53.208" v="25905" actId="1076"/>
          <ac:picMkLst>
            <pc:docMk/>
            <pc:sldMk cId="1770612176" sldId="504"/>
            <ac:picMk id="22" creationId="{4AB385C4-CE93-49E7-B8C5-A7CCE12843DE}"/>
          </ac:picMkLst>
        </pc:picChg>
      </pc:sldChg>
      <pc:sldChg chg="del">
        <pc:chgData name="Lars Ivar Hatledal" userId="da83bdda-499a-4427-8775-f375be339a54" providerId="ADAL" clId="{D4F7D428-4D3F-4D7F-A708-D669671558DA}" dt="2021-03-05T08:04:18.143" v="28" actId="47"/>
        <pc:sldMkLst>
          <pc:docMk/>
          <pc:sldMk cId="145745321" sldId="505"/>
        </pc:sldMkLst>
      </pc:sldChg>
      <pc:sldChg chg="new del">
        <pc:chgData name="Lars Ivar Hatledal" userId="da83bdda-499a-4427-8775-f375be339a54" providerId="ADAL" clId="{D4F7D428-4D3F-4D7F-A708-D669671558DA}" dt="2021-03-09T12:10:07.497" v="1825" actId="47"/>
        <pc:sldMkLst>
          <pc:docMk/>
          <pc:sldMk cId="2445955813" sldId="505"/>
        </pc:sldMkLst>
      </pc:sldChg>
      <pc:sldChg chg="addSp delSp modSp add mod modNotesTx">
        <pc:chgData name="Lars Ivar Hatledal" userId="da83bdda-499a-4427-8775-f375be339a54" providerId="ADAL" clId="{D4F7D428-4D3F-4D7F-A708-D669671558DA}" dt="2021-03-18T21:27:55.881" v="26733" actId="20577"/>
        <pc:sldMkLst>
          <pc:docMk/>
          <pc:sldMk cId="2852395672" sldId="505"/>
        </pc:sldMkLst>
        <pc:spChg chg="mod">
          <ac:chgData name="Lars Ivar Hatledal" userId="da83bdda-499a-4427-8775-f375be339a54" providerId="ADAL" clId="{D4F7D428-4D3F-4D7F-A708-D669671558DA}" dt="2021-03-18T19:49:46.907" v="25439" actId="20577"/>
          <ac:spMkLst>
            <pc:docMk/>
            <pc:sldMk cId="2852395672" sldId="505"/>
            <ac:spMk id="26" creationId="{F7012B31-D035-4588-A480-DACDA83B843C}"/>
          </ac:spMkLst>
        </pc:spChg>
        <pc:spChg chg="mod">
          <ac:chgData name="Lars Ivar Hatledal" userId="da83bdda-499a-4427-8775-f375be339a54" providerId="ADAL" clId="{D4F7D428-4D3F-4D7F-A708-D669671558DA}" dt="2021-03-14T13:44:36.894" v="9074" actId="20577"/>
          <ac:spMkLst>
            <pc:docMk/>
            <pc:sldMk cId="2852395672" sldId="505"/>
            <ac:spMk id="28" creationId="{48703A56-96F6-4216-B29F-75E1A68FEBED}"/>
          </ac:spMkLst>
        </pc:spChg>
        <pc:spChg chg="mod">
          <ac:chgData name="Lars Ivar Hatledal" userId="da83bdda-499a-4427-8775-f375be339a54" providerId="ADAL" clId="{D4F7D428-4D3F-4D7F-A708-D669671558DA}" dt="2021-03-14T18:48:38.940" v="14724"/>
          <ac:spMkLst>
            <pc:docMk/>
            <pc:sldMk cId="2852395672" sldId="505"/>
            <ac:spMk id="48" creationId="{93021870-C11D-4ED1-A373-45FC4A662D82}"/>
          </ac:spMkLst>
        </pc:spChg>
        <pc:spChg chg="mod">
          <ac:chgData name="Lars Ivar Hatledal" userId="da83bdda-499a-4427-8775-f375be339a54" providerId="ADAL" clId="{D4F7D428-4D3F-4D7F-A708-D669671558DA}" dt="2021-03-14T18:48:38.940" v="14724"/>
          <ac:spMkLst>
            <pc:docMk/>
            <pc:sldMk cId="2852395672" sldId="505"/>
            <ac:spMk id="49" creationId="{FB7E9EB9-E259-47D9-B434-28CA31B35A0D}"/>
          </ac:spMkLst>
        </pc:spChg>
        <pc:spChg chg="mod">
          <ac:chgData name="Lars Ivar Hatledal" userId="da83bdda-499a-4427-8775-f375be339a54" providerId="ADAL" clId="{D4F7D428-4D3F-4D7F-A708-D669671558DA}" dt="2021-03-14T18:48:38.940" v="14724"/>
          <ac:spMkLst>
            <pc:docMk/>
            <pc:sldMk cId="2852395672" sldId="505"/>
            <ac:spMk id="50" creationId="{6C9C9C3C-07F1-4574-8207-6592CD4FD0FC}"/>
          </ac:spMkLst>
        </pc:spChg>
        <pc:spChg chg="mod">
          <ac:chgData name="Lars Ivar Hatledal" userId="da83bdda-499a-4427-8775-f375be339a54" providerId="ADAL" clId="{D4F7D428-4D3F-4D7F-A708-D669671558DA}" dt="2021-03-14T18:48:38.940" v="14724"/>
          <ac:spMkLst>
            <pc:docMk/>
            <pc:sldMk cId="2852395672" sldId="505"/>
            <ac:spMk id="51" creationId="{1D14EF79-6E4A-4A8E-A0B4-0282A9C7AB12}"/>
          </ac:spMkLst>
        </pc:spChg>
        <pc:spChg chg="mod">
          <ac:chgData name="Lars Ivar Hatledal" userId="da83bdda-499a-4427-8775-f375be339a54" providerId="ADAL" clId="{D4F7D428-4D3F-4D7F-A708-D669671558DA}" dt="2021-03-14T18:48:38.940" v="14724"/>
          <ac:spMkLst>
            <pc:docMk/>
            <pc:sldMk cId="2852395672" sldId="505"/>
            <ac:spMk id="52" creationId="{FCAC24A9-8244-436A-8F6A-60F85A517515}"/>
          </ac:spMkLst>
        </pc:spChg>
        <pc:spChg chg="mod">
          <ac:chgData name="Lars Ivar Hatledal" userId="da83bdda-499a-4427-8775-f375be339a54" providerId="ADAL" clId="{D4F7D428-4D3F-4D7F-A708-D669671558DA}" dt="2021-03-14T18:48:38.940" v="14724"/>
          <ac:spMkLst>
            <pc:docMk/>
            <pc:sldMk cId="2852395672" sldId="505"/>
            <ac:spMk id="53" creationId="{E6DAA7D9-A3A4-4027-9E3B-268D0CED8179}"/>
          </ac:spMkLst>
        </pc:spChg>
        <pc:spChg chg="mod">
          <ac:chgData name="Lars Ivar Hatledal" userId="da83bdda-499a-4427-8775-f375be339a54" providerId="ADAL" clId="{D4F7D428-4D3F-4D7F-A708-D669671558DA}" dt="2021-03-14T18:48:38.940" v="14724"/>
          <ac:spMkLst>
            <pc:docMk/>
            <pc:sldMk cId="2852395672" sldId="505"/>
            <ac:spMk id="54" creationId="{0EB0FDEC-4DAE-46F2-859C-D7FC7D500631}"/>
          </ac:spMkLst>
        </pc:spChg>
        <pc:spChg chg="mod">
          <ac:chgData name="Lars Ivar Hatledal" userId="da83bdda-499a-4427-8775-f375be339a54" providerId="ADAL" clId="{D4F7D428-4D3F-4D7F-A708-D669671558DA}" dt="2021-03-14T18:48:38.940" v="14724"/>
          <ac:spMkLst>
            <pc:docMk/>
            <pc:sldMk cId="2852395672" sldId="505"/>
            <ac:spMk id="55" creationId="{A61F5F57-3A7A-4226-AFE5-5A0AC0720724}"/>
          </ac:spMkLst>
        </pc:spChg>
        <pc:spChg chg="mod">
          <ac:chgData name="Lars Ivar Hatledal" userId="da83bdda-499a-4427-8775-f375be339a54" providerId="ADAL" clId="{D4F7D428-4D3F-4D7F-A708-D669671558DA}" dt="2021-03-14T18:48:38.940" v="14724"/>
          <ac:spMkLst>
            <pc:docMk/>
            <pc:sldMk cId="2852395672" sldId="505"/>
            <ac:spMk id="56" creationId="{1F7446A1-4DCC-44F6-BA28-5F9BBD6821DE}"/>
          </ac:spMkLst>
        </pc:spChg>
        <pc:spChg chg="mod">
          <ac:chgData name="Lars Ivar Hatledal" userId="da83bdda-499a-4427-8775-f375be339a54" providerId="ADAL" clId="{D4F7D428-4D3F-4D7F-A708-D669671558DA}" dt="2021-03-14T18:48:38.940" v="14724"/>
          <ac:spMkLst>
            <pc:docMk/>
            <pc:sldMk cId="2852395672" sldId="505"/>
            <ac:spMk id="57" creationId="{54EC32E6-1DE1-48B4-B2D1-00C6E33AB830}"/>
          </ac:spMkLst>
        </pc:spChg>
        <pc:grpChg chg="add mod">
          <ac:chgData name="Lars Ivar Hatledal" userId="da83bdda-499a-4427-8775-f375be339a54" providerId="ADAL" clId="{D4F7D428-4D3F-4D7F-A708-D669671558DA}" dt="2021-03-14T18:48:38.940" v="14724"/>
          <ac:grpSpMkLst>
            <pc:docMk/>
            <pc:sldMk cId="2852395672" sldId="505"/>
            <ac:grpSpMk id="24" creationId="{E4B21F46-97C8-49EE-A458-4006FE7A1A8D}"/>
          </ac:grpSpMkLst>
        </pc:grpChg>
        <pc:grpChg chg="del">
          <ac:chgData name="Lars Ivar Hatledal" userId="da83bdda-499a-4427-8775-f375be339a54" providerId="ADAL" clId="{D4F7D428-4D3F-4D7F-A708-D669671558DA}" dt="2021-03-14T18:48:38.571" v="14723" actId="478"/>
          <ac:grpSpMkLst>
            <pc:docMk/>
            <pc:sldMk cId="2852395672" sldId="505"/>
            <ac:grpSpMk id="25" creationId="{0F9B27B9-640B-4A52-AAF6-8A48C7C5619E}"/>
          </ac:grpSpMkLst>
        </pc:grpChg>
        <pc:grpChg chg="mod">
          <ac:chgData name="Lars Ivar Hatledal" userId="da83bdda-499a-4427-8775-f375be339a54" providerId="ADAL" clId="{D4F7D428-4D3F-4D7F-A708-D669671558DA}" dt="2021-03-14T18:48:38.940" v="14724"/>
          <ac:grpSpMkLst>
            <pc:docMk/>
            <pc:sldMk cId="2852395672" sldId="505"/>
            <ac:grpSpMk id="43" creationId="{03DD554D-6889-4801-9F93-7B0A21D442A6}"/>
          </ac:grpSpMkLst>
        </pc:grpChg>
        <pc:grpChg chg="mod">
          <ac:chgData name="Lars Ivar Hatledal" userId="da83bdda-499a-4427-8775-f375be339a54" providerId="ADAL" clId="{D4F7D428-4D3F-4D7F-A708-D669671558DA}" dt="2021-03-14T18:48:38.940" v="14724"/>
          <ac:grpSpMkLst>
            <pc:docMk/>
            <pc:sldMk cId="2852395672" sldId="505"/>
            <ac:grpSpMk id="44" creationId="{82C4F6D3-5609-4479-8F85-77E27D40F1A4}"/>
          </ac:grpSpMkLst>
        </pc:grpChg>
        <pc:grpChg chg="mod">
          <ac:chgData name="Lars Ivar Hatledal" userId="da83bdda-499a-4427-8775-f375be339a54" providerId="ADAL" clId="{D4F7D428-4D3F-4D7F-A708-D669671558DA}" dt="2021-03-14T18:48:38.940" v="14724"/>
          <ac:grpSpMkLst>
            <pc:docMk/>
            <pc:sldMk cId="2852395672" sldId="505"/>
            <ac:grpSpMk id="45" creationId="{63E8CD5F-A883-40C5-B3F7-F7AACA944F94}"/>
          </ac:grpSpMkLst>
        </pc:grpChg>
        <pc:grpChg chg="mod">
          <ac:chgData name="Lars Ivar Hatledal" userId="da83bdda-499a-4427-8775-f375be339a54" providerId="ADAL" clId="{D4F7D428-4D3F-4D7F-A708-D669671558DA}" dt="2021-03-14T18:48:38.940" v="14724"/>
          <ac:grpSpMkLst>
            <pc:docMk/>
            <pc:sldMk cId="2852395672" sldId="505"/>
            <ac:grpSpMk id="46" creationId="{C53017B0-41E0-47A4-8DE1-A48AA5C06DB2}"/>
          </ac:grpSpMkLst>
        </pc:grpChg>
        <pc:grpChg chg="mod">
          <ac:chgData name="Lars Ivar Hatledal" userId="da83bdda-499a-4427-8775-f375be339a54" providerId="ADAL" clId="{D4F7D428-4D3F-4D7F-A708-D669671558DA}" dt="2021-03-14T18:48:38.940" v="14724"/>
          <ac:grpSpMkLst>
            <pc:docMk/>
            <pc:sldMk cId="2852395672" sldId="505"/>
            <ac:grpSpMk id="47" creationId="{40C79EC4-1A31-4052-B9D3-4A3E31E4A5EE}"/>
          </ac:grpSpMkLst>
        </pc:grpChg>
        <pc:picChg chg="del">
          <ac:chgData name="Lars Ivar Hatledal" userId="da83bdda-499a-4427-8775-f375be339a54" providerId="ADAL" clId="{D4F7D428-4D3F-4D7F-A708-D669671558DA}" dt="2021-03-09T12:11:28.497" v="1899" actId="478"/>
          <ac:picMkLst>
            <pc:docMk/>
            <pc:sldMk cId="2852395672" sldId="505"/>
            <ac:picMk id="21" creationId="{FD7BBAB0-CDCB-45AF-A0DF-042D98208808}"/>
          </ac:picMkLst>
        </pc:picChg>
        <pc:picChg chg="add mod">
          <ac:chgData name="Lars Ivar Hatledal" userId="da83bdda-499a-4427-8775-f375be339a54" providerId="ADAL" clId="{D4F7D428-4D3F-4D7F-A708-D669671558DA}" dt="2021-03-14T15:25:25.620" v="10074" actId="1076"/>
          <ac:picMkLst>
            <pc:docMk/>
            <pc:sldMk cId="2852395672" sldId="505"/>
            <ac:picMk id="22" creationId="{5DC11D89-FBA8-4BB1-A15D-90EFD8BBFA98}"/>
          </ac:picMkLst>
        </pc:picChg>
        <pc:picChg chg="add mod">
          <ac:chgData name="Lars Ivar Hatledal" userId="da83bdda-499a-4427-8775-f375be339a54" providerId="ADAL" clId="{D4F7D428-4D3F-4D7F-A708-D669671558DA}" dt="2021-03-14T15:25:23.254" v="10073" actId="1076"/>
          <ac:picMkLst>
            <pc:docMk/>
            <pc:sldMk cId="2852395672" sldId="505"/>
            <ac:picMk id="23" creationId="{65508086-799B-4715-A72B-95F1F89695CB}"/>
          </ac:picMkLst>
        </pc:picChg>
      </pc:sldChg>
      <pc:sldChg chg="addSp delSp modSp add del mod ord">
        <pc:chgData name="Lars Ivar Hatledal" userId="da83bdda-499a-4427-8775-f375be339a54" providerId="ADAL" clId="{D4F7D428-4D3F-4D7F-A708-D669671558DA}" dt="2021-03-18T17:29:57.907" v="18651" actId="47"/>
        <pc:sldMkLst>
          <pc:docMk/>
          <pc:sldMk cId="962466913" sldId="506"/>
        </pc:sldMkLst>
        <pc:spChg chg="del mod">
          <ac:chgData name="Lars Ivar Hatledal" userId="da83bdda-499a-4427-8775-f375be339a54" providerId="ADAL" clId="{D4F7D428-4D3F-4D7F-A708-D669671558DA}" dt="2021-03-15T17:15:13.640" v="15010" actId="478"/>
          <ac:spMkLst>
            <pc:docMk/>
            <pc:sldMk cId="962466913" sldId="506"/>
            <ac:spMk id="7" creationId="{63991A79-2DF5-4987-8986-F8B6237BF2C9}"/>
          </ac:spMkLst>
        </pc:spChg>
        <pc:spChg chg="mod">
          <ac:chgData name="Lars Ivar Hatledal" userId="da83bdda-499a-4427-8775-f375be339a54" providerId="ADAL" clId="{D4F7D428-4D3F-4D7F-A708-D669671558DA}" dt="2021-03-15T17:15:32.240" v="15013" actId="122"/>
          <ac:spMkLst>
            <pc:docMk/>
            <pc:sldMk cId="962466913" sldId="506"/>
            <ac:spMk id="45" creationId="{ABE05CC7-87A9-4E18-AEA7-3CFE48FBF726}"/>
          </ac:spMkLst>
        </pc:spChg>
        <pc:picChg chg="add del mod">
          <ac:chgData name="Lars Ivar Hatledal" userId="da83bdda-499a-4427-8775-f375be339a54" providerId="ADAL" clId="{D4F7D428-4D3F-4D7F-A708-D669671558DA}" dt="2021-03-15T17:14:48.691" v="14964" actId="478"/>
          <ac:picMkLst>
            <pc:docMk/>
            <pc:sldMk cId="962466913" sldId="506"/>
            <ac:picMk id="23" creationId="{44E316F0-0BC9-4563-947F-6A3F487C27CB}"/>
          </ac:picMkLst>
        </pc:picChg>
        <pc:cxnChg chg="del">
          <ac:chgData name="Lars Ivar Hatledal" userId="da83bdda-499a-4427-8775-f375be339a54" providerId="ADAL" clId="{D4F7D428-4D3F-4D7F-A708-D669671558DA}" dt="2021-03-15T17:15:15.488" v="15011" actId="478"/>
          <ac:cxnSpMkLst>
            <pc:docMk/>
            <pc:sldMk cId="962466913" sldId="506"/>
            <ac:cxnSpMk id="43" creationId="{D619BC49-E4EF-4BC0-B474-609F75846915}"/>
          </ac:cxnSpMkLst>
        </pc:cxnChg>
      </pc:sldChg>
      <pc:sldChg chg="add del">
        <pc:chgData name="Lars Ivar Hatledal" userId="da83bdda-499a-4427-8775-f375be339a54" providerId="ADAL" clId="{D4F7D428-4D3F-4D7F-A708-D669671558DA}" dt="2021-03-05T08:12:57.786" v="367" actId="47"/>
        <pc:sldMkLst>
          <pc:docMk/>
          <pc:sldMk cId="2184519579" sldId="506"/>
        </pc:sldMkLst>
      </pc:sldChg>
      <pc:sldChg chg="modSp add del mod">
        <pc:chgData name="Lars Ivar Hatledal" userId="da83bdda-499a-4427-8775-f375be339a54" providerId="ADAL" clId="{D4F7D428-4D3F-4D7F-A708-D669671558DA}" dt="2021-03-09T12:12:41.261" v="1919" actId="47"/>
        <pc:sldMkLst>
          <pc:docMk/>
          <pc:sldMk cId="2188377783" sldId="506"/>
        </pc:sldMkLst>
        <pc:spChg chg="mod">
          <ac:chgData name="Lars Ivar Hatledal" userId="da83bdda-499a-4427-8775-f375be339a54" providerId="ADAL" clId="{D4F7D428-4D3F-4D7F-A708-D669671558DA}" dt="2021-03-09T12:12:06.547" v="1915" actId="20577"/>
          <ac:spMkLst>
            <pc:docMk/>
            <pc:sldMk cId="2188377783" sldId="506"/>
            <ac:spMk id="7" creationId="{63991A79-2DF5-4987-8986-F8B6237BF2C9}"/>
          </ac:spMkLst>
        </pc:spChg>
        <pc:spChg chg="mod">
          <ac:chgData name="Lars Ivar Hatledal" userId="da83bdda-499a-4427-8775-f375be339a54" providerId="ADAL" clId="{D4F7D428-4D3F-4D7F-A708-D669671558DA}" dt="2021-03-09T12:11:51.787" v="1907" actId="20577"/>
          <ac:spMkLst>
            <pc:docMk/>
            <pc:sldMk cId="2188377783" sldId="506"/>
            <ac:spMk id="45" creationId="{ABE05CC7-87A9-4E18-AEA7-3CFE48FBF726}"/>
          </ac:spMkLst>
        </pc:spChg>
      </pc:sldChg>
      <pc:sldChg chg="add del">
        <pc:chgData name="Lars Ivar Hatledal" userId="da83bdda-499a-4427-8775-f375be339a54" providerId="ADAL" clId="{D4F7D428-4D3F-4D7F-A708-D669671558DA}" dt="2021-03-05T08:12:58.791" v="368" actId="47"/>
        <pc:sldMkLst>
          <pc:docMk/>
          <pc:sldMk cId="2832408704" sldId="507"/>
        </pc:sldMkLst>
      </pc:sldChg>
      <pc:sldChg chg="addSp delSp modSp add mod modNotesTx">
        <pc:chgData name="Lars Ivar Hatledal" userId="da83bdda-499a-4427-8775-f375be339a54" providerId="ADAL" clId="{D4F7D428-4D3F-4D7F-A708-D669671558DA}" dt="2021-03-18T20:57:08.438" v="26573" actId="20577"/>
        <pc:sldMkLst>
          <pc:docMk/>
          <pc:sldMk cId="3412211343" sldId="507"/>
        </pc:sldMkLst>
        <pc:spChg chg="add del">
          <ac:chgData name="Lars Ivar Hatledal" userId="da83bdda-499a-4427-8775-f375be339a54" providerId="ADAL" clId="{D4F7D428-4D3F-4D7F-A708-D669671558DA}" dt="2021-03-11T08:44:45.765" v="3628"/>
          <ac:spMkLst>
            <pc:docMk/>
            <pc:sldMk cId="3412211343" sldId="507"/>
            <ac:spMk id="4" creationId="{4D7EE0E5-9F2A-40A4-AF36-C56CB9C393A6}"/>
          </ac:spMkLst>
        </pc:spChg>
        <pc:spChg chg="mod">
          <ac:chgData name="Lars Ivar Hatledal" userId="da83bdda-499a-4427-8775-f375be339a54" providerId="ADAL" clId="{D4F7D428-4D3F-4D7F-A708-D669671558DA}" dt="2021-03-18T20:57:07.118" v="26572" actId="20577"/>
          <ac:spMkLst>
            <pc:docMk/>
            <pc:sldMk cId="3412211343" sldId="507"/>
            <ac:spMk id="7" creationId="{63991A79-2DF5-4987-8986-F8B6237BF2C9}"/>
          </ac:spMkLst>
        </pc:spChg>
        <pc:spChg chg="mod">
          <ac:chgData name="Lars Ivar Hatledal" userId="da83bdda-499a-4427-8775-f375be339a54" providerId="ADAL" clId="{D4F7D428-4D3F-4D7F-A708-D669671558DA}" dt="2021-03-14T18:48:57.120" v="14734"/>
          <ac:spMkLst>
            <pc:docMk/>
            <pc:sldMk cId="3412211343" sldId="507"/>
            <ac:spMk id="30" creationId="{46200243-77BF-42AB-AFC1-5688131E029B}"/>
          </ac:spMkLst>
        </pc:spChg>
        <pc:spChg chg="mod">
          <ac:chgData name="Lars Ivar Hatledal" userId="da83bdda-499a-4427-8775-f375be339a54" providerId="ADAL" clId="{D4F7D428-4D3F-4D7F-A708-D669671558DA}" dt="2021-03-14T18:48:57.120" v="14734"/>
          <ac:spMkLst>
            <pc:docMk/>
            <pc:sldMk cId="3412211343" sldId="507"/>
            <ac:spMk id="31" creationId="{769792AA-F834-4A64-894E-17BF7D3AFB1D}"/>
          </ac:spMkLst>
        </pc:spChg>
        <pc:spChg chg="mod">
          <ac:chgData name="Lars Ivar Hatledal" userId="da83bdda-499a-4427-8775-f375be339a54" providerId="ADAL" clId="{D4F7D428-4D3F-4D7F-A708-D669671558DA}" dt="2021-03-14T18:48:57.120" v="14734"/>
          <ac:spMkLst>
            <pc:docMk/>
            <pc:sldMk cId="3412211343" sldId="507"/>
            <ac:spMk id="32" creationId="{3C17449D-9305-4D39-8D43-71EE0A084CD9}"/>
          </ac:spMkLst>
        </pc:spChg>
        <pc:spChg chg="mod">
          <ac:chgData name="Lars Ivar Hatledal" userId="da83bdda-499a-4427-8775-f375be339a54" providerId="ADAL" clId="{D4F7D428-4D3F-4D7F-A708-D669671558DA}" dt="2021-03-14T18:48:57.120" v="14734"/>
          <ac:spMkLst>
            <pc:docMk/>
            <pc:sldMk cId="3412211343" sldId="507"/>
            <ac:spMk id="33" creationId="{56467821-01A9-4D60-AEEC-50A4C72716A4}"/>
          </ac:spMkLst>
        </pc:spChg>
        <pc:spChg chg="mod">
          <ac:chgData name="Lars Ivar Hatledal" userId="da83bdda-499a-4427-8775-f375be339a54" providerId="ADAL" clId="{D4F7D428-4D3F-4D7F-A708-D669671558DA}" dt="2021-03-14T18:48:57.120" v="14734"/>
          <ac:spMkLst>
            <pc:docMk/>
            <pc:sldMk cId="3412211343" sldId="507"/>
            <ac:spMk id="34" creationId="{0D345E41-F838-4D2C-95FB-1F8BD897BF91}"/>
          </ac:spMkLst>
        </pc:spChg>
        <pc:spChg chg="mod">
          <ac:chgData name="Lars Ivar Hatledal" userId="da83bdda-499a-4427-8775-f375be339a54" providerId="ADAL" clId="{D4F7D428-4D3F-4D7F-A708-D669671558DA}" dt="2021-03-18T19:25:17.953" v="23572" actId="207"/>
          <ac:spMkLst>
            <pc:docMk/>
            <pc:sldMk cId="3412211343" sldId="507"/>
            <ac:spMk id="45" creationId="{ABE05CC7-87A9-4E18-AEA7-3CFE48FBF726}"/>
          </ac:spMkLst>
        </pc:spChg>
        <pc:spChg chg="mod">
          <ac:chgData name="Lars Ivar Hatledal" userId="da83bdda-499a-4427-8775-f375be339a54" providerId="ADAL" clId="{D4F7D428-4D3F-4D7F-A708-D669671558DA}" dt="2021-03-14T18:48:57.120" v="14734"/>
          <ac:spMkLst>
            <pc:docMk/>
            <pc:sldMk cId="3412211343" sldId="507"/>
            <ac:spMk id="53" creationId="{286AE592-F42D-4146-93E3-6A20B3EA10BB}"/>
          </ac:spMkLst>
        </pc:spChg>
        <pc:spChg chg="mod">
          <ac:chgData name="Lars Ivar Hatledal" userId="da83bdda-499a-4427-8775-f375be339a54" providerId="ADAL" clId="{D4F7D428-4D3F-4D7F-A708-D669671558DA}" dt="2021-03-14T18:48:57.120" v="14734"/>
          <ac:spMkLst>
            <pc:docMk/>
            <pc:sldMk cId="3412211343" sldId="507"/>
            <ac:spMk id="54" creationId="{DA165F98-BD2A-42E6-A1F4-9E98439B9849}"/>
          </ac:spMkLst>
        </pc:spChg>
        <pc:spChg chg="mod">
          <ac:chgData name="Lars Ivar Hatledal" userId="da83bdda-499a-4427-8775-f375be339a54" providerId="ADAL" clId="{D4F7D428-4D3F-4D7F-A708-D669671558DA}" dt="2021-03-14T18:48:57.120" v="14734"/>
          <ac:spMkLst>
            <pc:docMk/>
            <pc:sldMk cId="3412211343" sldId="507"/>
            <ac:spMk id="55" creationId="{1413B019-7BD5-4004-943B-0133B71ADD1D}"/>
          </ac:spMkLst>
        </pc:spChg>
        <pc:spChg chg="mod">
          <ac:chgData name="Lars Ivar Hatledal" userId="da83bdda-499a-4427-8775-f375be339a54" providerId="ADAL" clId="{D4F7D428-4D3F-4D7F-A708-D669671558DA}" dt="2021-03-14T18:48:57.120" v="14734"/>
          <ac:spMkLst>
            <pc:docMk/>
            <pc:sldMk cId="3412211343" sldId="507"/>
            <ac:spMk id="56" creationId="{02E24B2C-C8F1-4B4B-8C53-E429DCB9C45C}"/>
          </ac:spMkLst>
        </pc:spChg>
        <pc:spChg chg="mod">
          <ac:chgData name="Lars Ivar Hatledal" userId="da83bdda-499a-4427-8775-f375be339a54" providerId="ADAL" clId="{D4F7D428-4D3F-4D7F-A708-D669671558DA}" dt="2021-03-14T18:48:57.120" v="14734"/>
          <ac:spMkLst>
            <pc:docMk/>
            <pc:sldMk cId="3412211343" sldId="507"/>
            <ac:spMk id="57" creationId="{489D9BB5-0FC4-4C77-9A10-BBB380C964C3}"/>
          </ac:spMkLst>
        </pc:spChg>
        <pc:grpChg chg="del">
          <ac:chgData name="Lars Ivar Hatledal" userId="da83bdda-499a-4427-8775-f375be339a54" providerId="ADAL" clId="{D4F7D428-4D3F-4D7F-A708-D669671558DA}" dt="2021-03-14T18:48:56.800" v="14733" actId="478"/>
          <ac:grpSpMkLst>
            <pc:docMk/>
            <pc:sldMk cId="3412211343" sldId="507"/>
            <ac:grpSpMk id="2" creationId="{FB0E3E3F-4D6E-4365-B8D1-477E1C1440EC}"/>
          </ac:grpSpMkLst>
        </pc:grpChg>
        <pc:grpChg chg="add mod">
          <ac:chgData name="Lars Ivar Hatledal" userId="da83bdda-499a-4427-8775-f375be339a54" providerId="ADAL" clId="{D4F7D428-4D3F-4D7F-A708-D669671558DA}" dt="2021-03-14T18:48:57.120" v="14734"/>
          <ac:grpSpMkLst>
            <pc:docMk/>
            <pc:sldMk cId="3412211343" sldId="507"/>
            <ac:grpSpMk id="24" creationId="{7F4C5258-2B1C-4DB5-ACD6-F5BEEE60802A}"/>
          </ac:grpSpMkLst>
        </pc:grpChg>
        <pc:grpChg chg="mod">
          <ac:chgData name="Lars Ivar Hatledal" userId="da83bdda-499a-4427-8775-f375be339a54" providerId="ADAL" clId="{D4F7D428-4D3F-4D7F-A708-D669671558DA}" dt="2021-03-14T18:48:57.120" v="14734"/>
          <ac:grpSpMkLst>
            <pc:docMk/>
            <pc:sldMk cId="3412211343" sldId="507"/>
            <ac:grpSpMk id="25" creationId="{556E514F-5F7B-426B-97CE-4253B61BA0C7}"/>
          </ac:grpSpMkLst>
        </pc:grpChg>
        <pc:grpChg chg="mod">
          <ac:chgData name="Lars Ivar Hatledal" userId="da83bdda-499a-4427-8775-f375be339a54" providerId="ADAL" clId="{D4F7D428-4D3F-4D7F-A708-D669671558DA}" dt="2021-03-14T18:48:57.120" v="14734"/>
          <ac:grpSpMkLst>
            <pc:docMk/>
            <pc:sldMk cId="3412211343" sldId="507"/>
            <ac:grpSpMk id="26" creationId="{57BFD401-A179-4663-BD56-80D5E75E4FBE}"/>
          </ac:grpSpMkLst>
        </pc:grpChg>
        <pc:grpChg chg="mod">
          <ac:chgData name="Lars Ivar Hatledal" userId="da83bdda-499a-4427-8775-f375be339a54" providerId="ADAL" clId="{D4F7D428-4D3F-4D7F-A708-D669671558DA}" dt="2021-03-14T18:48:57.120" v="14734"/>
          <ac:grpSpMkLst>
            <pc:docMk/>
            <pc:sldMk cId="3412211343" sldId="507"/>
            <ac:grpSpMk id="27" creationId="{7C0E9315-54F9-4E1E-BE73-BE00304480BD}"/>
          </ac:grpSpMkLst>
        </pc:grpChg>
        <pc:grpChg chg="mod">
          <ac:chgData name="Lars Ivar Hatledal" userId="da83bdda-499a-4427-8775-f375be339a54" providerId="ADAL" clId="{D4F7D428-4D3F-4D7F-A708-D669671558DA}" dt="2021-03-14T18:48:57.120" v="14734"/>
          <ac:grpSpMkLst>
            <pc:docMk/>
            <pc:sldMk cId="3412211343" sldId="507"/>
            <ac:grpSpMk id="28" creationId="{FFDF7937-1ECD-467A-AB83-AF1EEE6C8683}"/>
          </ac:grpSpMkLst>
        </pc:grpChg>
        <pc:grpChg chg="mod">
          <ac:chgData name="Lars Ivar Hatledal" userId="da83bdda-499a-4427-8775-f375be339a54" providerId="ADAL" clId="{D4F7D428-4D3F-4D7F-A708-D669671558DA}" dt="2021-03-14T18:48:57.120" v="14734"/>
          <ac:grpSpMkLst>
            <pc:docMk/>
            <pc:sldMk cId="3412211343" sldId="507"/>
            <ac:grpSpMk id="29" creationId="{F5E1DD0B-8567-412C-B5AE-0B335DECE977}"/>
          </ac:grpSpMkLst>
        </pc:grpChg>
        <pc:graphicFrameChg chg="add del mod">
          <ac:chgData name="Lars Ivar Hatledal" userId="da83bdda-499a-4427-8775-f375be339a54" providerId="ADAL" clId="{D4F7D428-4D3F-4D7F-A708-D669671558DA}" dt="2021-03-14T16:17:12.209" v="11401" actId="21"/>
          <ac:graphicFrameMkLst>
            <pc:docMk/>
            <pc:sldMk cId="3412211343" sldId="507"/>
            <ac:graphicFrameMk id="3" creationId="{C8EC85E8-FD67-4340-95E1-8189A139709B}"/>
          </ac:graphicFrameMkLst>
        </pc:graphicFrameChg>
        <pc:graphicFrameChg chg="add mod">
          <ac:chgData name="Lars Ivar Hatledal" userId="da83bdda-499a-4427-8775-f375be339a54" providerId="ADAL" clId="{D4F7D428-4D3F-4D7F-A708-D669671558DA}" dt="2021-03-14T18:49:38.830" v="14769" actId="1076"/>
          <ac:graphicFrameMkLst>
            <pc:docMk/>
            <pc:sldMk cId="3412211343" sldId="507"/>
            <ac:graphicFrameMk id="23" creationId="{FE090B57-3DAF-418A-96E3-69A353C08726}"/>
          </ac:graphicFrameMkLst>
        </pc:graphicFrameChg>
        <pc:picChg chg="add del mod">
          <ac:chgData name="Lars Ivar Hatledal" userId="da83bdda-499a-4427-8775-f375be339a54" providerId="ADAL" clId="{D4F7D428-4D3F-4D7F-A708-D669671558DA}" dt="2021-03-14T16:17:12.209" v="11401" actId="21"/>
          <ac:picMkLst>
            <pc:docMk/>
            <pc:sldMk cId="3412211343" sldId="507"/>
            <ac:picMk id="5" creationId="{74526315-8F5F-4068-B4DD-1CCC6B57D27C}"/>
          </ac:picMkLst>
        </pc:picChg>
        <pc:picChg chg="del">
          <ac:chgData name="Lars Ivar Hatledal" userId="da83bdda-499a-4427-8775-f375be339a54" providerId="ADAL" clId="{D4F7D428-4D3F-4D7F-A708-D669671558DA}" dt="2021-03-09T14:08:54.589" v="2719" actId="478"/>
          <ac:picMkLst>
            <pc:docMk/>
            <pc:sldMk cId="3412211343" sldId="507"/>
            <ac:picMk id="23" creationId="{44E316F0-0BC9-4563-947F-6A3F487C27CB}"/>
          </ac:picMkLst>
        </pc:picChg>
        <pc:picChg chg="add del mod">
          <ac:chgData name="Lars Ivar Hatledal" userId="da83bdda-499a-4427-8775-f375be339a54" providerId="ADAL" clId="{D4F7D428-4D3F-4D7F-A708-D669671558DA}" dt="2021-03-14T18:49:40.620" v="14770" actId="478"/>
          <ac:picMkLst>
            <pc:docMk/>
            <pc:sldMk cId="3412211343" sldId="507"/>
            <ac:picMk id="58" creationId="{4874731C-7911-4BB5-83DB-D986859AC0CF}"/>
          </ac:picMkLst>
        </pc:picChg>
        <pc:picChg chg="add mod">
          <ac:chgData name="Lars Ivar Hatledal" userId="da83bdda-499a-4427-8775-f375be339a54" providerId="ADAL" clId="{D4F7D428-4D3F-4D7F-A708-D669671558DA}" dt="2021-03-14T18:49:42.450" v="14771" actId="1076"/>
          <ac:picMkLst>
            <pc:docMk/>
            <pc:sldMk cId="3412211343" sldId="507"/>
            <ac:picMk id="59" creationId="{6505C131-4341-4829-99A2-4F82ED85DC97}"/>
          </ac:picMkLst>
        </pc:picChg>
      </pc:sldChg>
      <pc:sldChg chg="addSp delSp modSp add mod modNotesTx">
        <pc:chgData name="Lars Ivar Hatledal" userId="da83bdda-499a-4427-8775-f375be339a54" providerId="ADAL" clId="{D4F7D428-4D3F-4D7F-A708-D669671558DA}" dt="2021-03-18T21:31:47.064" v="26801" actId="20577"/>
        <pc:sldMkLst>
          <pc:docMk/>
          <pc:sldMk cId="1200325548" sldId="508"/>
        </pc:sldMkLst>
        <pc:spChg chg="mod">
          <ac:chgData name="Lars Ivar Hatledal" userId="da83bdda-499a-4427-8775-f375be339a54" providerId="ADAL" clId="{D4F7D428-4D3F-4D7F-A708-D669671558DA}" dt="2021-03-18T19:31:39.882" v="23599" actId="1076"/>
          <ac:spMkLst>
            <pc:docMk/>
            <pc:sldMk cId="1200325548" sldId="508"/>
            <ac:spMk id="2" creationId="{C1B5896C-9A8F-4846-BBCC-B6603A751323}"/>
          </ac:spMkLst>
        </pc:spChg>
        <pc:spChg chg="add del">
          <ac:chgData name="Lars Ivar Hatledal" userId="da83bdda-499a-4427-8775-f375be339a54" providerId="ADAL" clId="{D4F7D428-4D3F-4D7F-A708-D669671558DA}" dt="2021-03-13T15:02:41.540" v="5061"/>
          <ac:spMkLst>
            <pc:docMk/>
            <pc:sldMk cId="1200325548" sldId="508"/>
            <ac:spMk id="3" creationId="{18E18589-E4EA-4FB7-97FE-1258EC76C955}"/>
          </ac:spMkLst>
        </pc:spChg>
        <pc:spChg chg="mod">
          <ac:chgData name="Lars Ivar Hatledal" userId="da83bdda-499a-4427-8775-f375be339a54" providerId="ADAL" clId="{D4F7D428-4D3F-4D7F-A708-D669671558DA}" dt="2021-03-18T19:31:42.273" v="23600" actId="1076"/>
          <ac:spMkLst>
            <pc:docMk/>
            <pc:sldMk cId="1200325548" sldId="508"/>
            <ac:spMk id="3" creationId="{3066E3BB-45BF-4AD8-97C8-42E75169C565}"/>
          </ac:spMkLst>
        </pc:spChg>
        <pc:spChg chg="add del mod">
          <ac:chgData name="Lars Ivar Hatledal" userId="da83bdda-499a-4427-8775-f375be339a54" providerId="ADAL" clId="{D4F7D428-4D3F-4D7F-A708-D669671558DA}" dt="2021-03-13T15:02:53.431" v="5064" actId="478"/>
          <ac:spMkLst>
            <pc:docMk/>
            <pc:sldMk cId="1200325548" sldId="508"/>
            <ac:spMk id="4" creationId="{0FB15542-FB30-4B2B-ACD9-AF967C33F811}"/>
          </ac:spMkLst>
        </pc:spChg>
        <pc:spChg chg="mod">
          <ac:chgData name="Lars Ivar Hatledal" userId="da83bdda-499a-4427-8775-f375be339a54" providerId="ADAL" clId="{D4F7D428-4D3F-4D7F-A708-D669671558DA}" dt="2021-03-18T19:32:10.851" v="23624" actId="114"/>
          <ac:spMkLst>
            <pc:docMk/>
            <pc:sldMk cId="1200325548" sldId="508"/>
            <ac:spMk id="7" creationId="{63991A79-2DF5-4987-8986-F8B6237BF2C9}"/>
          </ac:spMkLst>
        </pc:spChg>
        <pc:spChg chg="mod">
          <ac:chgData name="Lars Ivar Hatledal" userId="da83bdda-499a-4427-8775-f375be339a54" providerId="ADAL" clId="{D4F7D428-4D3F-4D7F-A708-D669671558DA}" dt="2021-03-18T19:31:39.882" v="23599" actId="1076"/>
          <ac:spMkLst>
            <pc:docMk/>
            <pc:sldMk cId="1200325548" sldId="508"/>
            <ac:spMk id="28" creationId="{07402004-FEA2-47A6-9FF6-023DD577AB00}"/>
          </ac:spMkLst>
        </pc:spChg>
        <pc:spChg chg="add mod">
          <ac:chgData name="Lars Ivar Hatledal" userId="da83bdda-499a-4427-8775-f375be339a54" providerId="ADAL" clId="{D4F7D428-4D3F-4D7F-A708-D669671558DA}" dt="2021-03-18T19:31:57.550" v="23622" actId="1037"/>
          <ac:spMkLst>
            <pc:docMk/>
            <pc:sldMk cId="1200325548" sldId="508"/>
            <ac:spMk id="31" creationId="{F77D7183-90BA-4C65-94B4-D07DD32F4DF3}"/>
          </ac:spMkLst>
        </pc:spChg>
        <pc:spChg chg="mod">
          <ac:chgData name="Lars Ivar Hatledal" userId="da83bdda-499a-4427-8775-f375be339a54" providerId="ADAL" clId="{D4F7D428-4D3F-4D7F-A708-D669671558DA}" dt="2021-03-11T13:42:17.216" v="4335" actId="207"/>
          <ac:spMkLst>
            <pc:docMk/>
            <pc:sldMk cId="1200325548" sldId="508"/>
            <ac:spMk id="45" creationId="{ABE05CC7-87A9-4E18-AEA7-3CFE48FBF726}"/>
          </ac:spMkLst>
        </pc:spChg>
        <pc:picChg chg="add mod">
          <ac:chgData name="Lars Ivar Hatledal" userId="da83bdda-499a-4427-8775-f375be339a54" providerId="ADAL" clId="{D4F7D428-4D3F-4D7F-A708-D669671558DA}" dt="2021-03-18T19:31:53.907" v="23611" actId="1037"/>
          <ac:picMkLst>
            <pc:docMk/>
            <pc:sldMk cId="1200325548" sldId="508"/>
            <ac:picMk id="4" creationId="{7EB0C3D1-F5F8-405C-A77E-A555E022D08D}"/>
          </ac:picMkLst>
        </pc:picChg>
        <pc:picChg chg="add del mod">
          <ac:chgData name="Lars Ivar Hatledal" userId="da83bdda-499a-4427-8775-f375be339a54" providerId="ADAL" clId="{D4F7D428-4D3F-4D7F-A708-D669671558DA}" dt="2021-03-18T19:30:51.895" v="23587" actId="478"/>
          <ac:picMkLst>
            <pc:docMk/>
            <pc:sldMk cId="1200325548" sldId="508"/>
            <ac:picMk id="5" creationId="{E51372FC-03ED-42FE-95BA-2C4592C38623}"/>
          </ac:picMkLst>
        </pc:picChg>
        <pc:picChg chg="add mod">
          <ac:chgData name="Lars Ivar Hatledal" userId="da83bdda-499a-4427-8775-f375be339a54" providerId="ADAL" clId="{D4F7D428-4D3F-4D7F-A708-D669671558DA}" dt="2021-03-18T19:31:39.882" v="23599" actId="1076"/>
          <ac:picMkLst>
            <pc:docMk/>
            <pc:sldMk cId="1200325548" sldId="508"/>
            <ac:picMk id="6" creationId="{5A3871C1-D5EA-4577-A6B9-F211ABAF7F1E}"/>
          </ac:picMkLst>
        </pc:picChg>
        <pc:picChg chg="del">
          <ac:chgData name="Lars Ivar Hatledal" userId="da83bdda-499a-4427-8775-f375be339a54" providerId="ADAL" clId="{D4F7D428-4D3F-4D7F-A708-D669671558DA}" dt="2021-03-09T12:15:41.166" v="1980" actId="478"/>
          <ac:picMkLst>
            <pc:docMk/>
            <pc:sldMk cId="1200325548" sldId="508"/>
            <ac:picMk id="23" creationId="{44E316F0-0BC9-4563-947F-6A3F487C27CB}"/>
          </ac:picMkLst>
        </pc:picChg>
        <pc:picChg chg="add mod">
          <ac:chgData name="Lars Ivar Hatledal" userId="da83bdda-499a-4427-8775-f375be339a54" providerId="ADAL" clId="{D4F7D428-4D3F-4D7F-A708-D669671558DA}" dt="2021-03-18T19:31:44.097" v="23601" actId="1076"/>
          <ac:picMkLst>
            <pc:docMk/>
            <pc:sldMk cId="1200325548" sldId="508"/>
            <ac:picMk id="24" creationId="{9BF0C40F-8BBA-4071-9E51-3A81121FDA83}"/>
          </ac:picMkLst>
        </pc:picChg>
      </pc:sldChg>
      <pc:sldChg chg="add del">
        <pc:chgData name="Lars Ivar Hatledal" userId="da83bdda-499a-4427-8775-f375be339a54" providerId="ADAL" clId="{D4F7D428-4D3F-4D7F-A708-D669671558DA}" dt="2021-03-05T08:12:50.761" v="360" actId="47"/>
        <pc:sldMkLst>
          <pc:docMk/>
          <pc:sldMk cId="2288509956" sldId="508"/>
        </pc:sldMkLst>
      </pc:sldChg>
      <pc:sldChg chg="add del">
        <pc:chgData name="Lars Ivar Hatledal" userId="da83bdda-499a-4427-8775-f375be339a54" providerId="ADAL" clId="{D4F7D428-4D3F-4D7F-A708-D669671558DA}" dt="2021-03-05T08:12:52.341" v="362" actId="47"/>
        <pc:sldMkLst>
          <pc:docMk/>
          <pc:sldMk cId="1816626139" sldId="509"/>
        </pc:sldMkLst>
      </pc:sldChg>
      <pc:sldChg chg="addSp delSp modSp add mod modNotesTx">
        <pc:chgData name="Lars Ivar Hatledal" userId="da83bdda-499a-4427-8775-f375be339a54" providerId="ADAL" clId="{D4F7D428-4D3F-4D7F-A708-D669671558DA}" dt="2021-03-18T22:06:52.023" v="29187" actId="20577"/>
        <pc:sldMkLst>
          <pc:docMk/>
          <pc:sldMk cId="2906686999" sldId="509"/>
        </pc:sldMkLst>
        <pc:spChg chg="add del">
          <ac:chgData name="Lars Ivar Hatledal" userId="da83bdda-499a-4427-8775-f375be339a54" providerId="ADAL" clId="{D4F7D428-4D3F-4D7F-A708-D669671558DA}" dt="2021-03-11T13:29:14.429" v="3770"/>
          <ac:spMkLst>
            <pc:docMk/>
            <pc:sldMk cId="2906686999" sldId="509"/>
            <ac:spMk id="3" creationId="{8A7D97E3-0721-49BD-A27E-61EC61FAA362}"/>
          </ac:spMkLst>
        </pc:spChg>
        <pc:spChg chg="mod">
          <ac:chgData name="Lars Ivar Hatledal" userId="da83bdda-499a-4427-8775-f375be339a54" providerId="ADAL" clId="{D4F7D428-4D3F-4D7F-A708-D669671558DA}" dt="2021-03-15T18:39:22.828" v="17413" actId="20577"/>
          <ac:spMkLst>
            <pc:docMk/>
            <pc:sldMk cId="2906686999" sldId="509"/>
            <ac:spMk id="7" creationId="{63991A79-2DF5-4987-8986-F8B6237BF2C9}"/>
          </ac:spMkLst>
        </pc:spChg>
        <pc:spChg chg="mod">
          <ac:chgData name="Lars Ivar Hatledal" userId="da83bdda-499a-4427-8775-f375be339a54" providerId="ADAL" clId="{D4F7D428-4D3F-4D7F-A708-D669671558DA}" dt="2021-03-14T18:48:42.145" v="14726"/>
          <ac:spMkLst>
            <pc:docMk/>
            <pc:sldMk cId="2906686999" sldId="509"/>
            <ac:spMk id="29" creationId="{7C1D6E6C-6D96-4340-B48E-F866DB0FF007}"/>
          </ac:spMkLst>
        </pc:spChg>
        <pc:spChg chg="mod">
          <ac:chgData name="Lars Ivar Hatledal" userId="da83bdda-499a-4427-8775-f375be339a54" providerId="ADAL" clId="{D4F7D428-4D3F-4D7F-A708-D669671558DA}" dt="2021-03-14T18:48:42.145" v="14726"/>
          <ac:spMkLst>
            <pc:docMk/>
            <pc:sldMk cId="2906686999" sldId="509"/>
            <ac:spMk id="30" creationId="{CCCA5431-5F35-4558-863F-B12B4FBECA27}"/>
          </ac:spMkLst>
        </pc:spChg>
        <pc:spChg chg="mod">
          <ac:chgData name="Lars Ivar Hatledal" userId="da83bdda-499a-4427-8775-f375be339a54" providerId="ADAL" clId="{D4F7D428-4D3F-4D7F-A708-D669671558DA}" dt="2021-03-14T18:48:42.145" v="14726"/>
          <ac:spMkLst>
            <pc:docMk/>
            <pc:sldMk cId="2906686999" sldId="509"/>
            <ac:spMk id="31" creationId="{CBFA9421-994C-4646-A131-F864D1D9226D}"/>
          </ac:spMkLst>
        </pc:spChg>
        <pc:spChg chg="mod">
          <ac:chgData name="Lars Ivar Hatledal" userId="da83bdda-499a-4427-8775-f375be339a54" providerId="ADAL" clId="{D4F7D428-4D3F-4D7F-A708-D669671558DA}" dt="2021-03-14T18:48:42.145" v="14726"/>
          <ac:spMkLst>
            <pc:docMk/>
            <pc:sldMk cId="2906686999" sldId="509"/>
            <ac:spMk id="32" creationId="{E29D26E4-C1D3-487D-8026-F1C4D317670E}"/>
          </ac:spMkLst>
        </pc:spChg>
        <pc:spChg chg="mod">
          <ac:chgData name="Lars Ivar Hatledal" userId="da83bdda-499a-4427-8775-f375be339a54" providerId="ADAL" clId="{D4F7D428-4D3F-4D7F-A708-D669671558DA}" dt="2021-03-14T18:48:42.145" v="14726"/>
          <ac:spMkLst>
            <pc:docMk/>
            <pc:sldMk cId="2906686999" sldId="509"/>
            <ac:spMk id="33" creationId="{BC6B1D25-21C7-48D3-8569-2F1EB8E9B366}"/>
          </ac:spMkLst>
        </pc:spChg>
        <pc:spChg chg="mod">
          <ac:chgData name="Lars Ivar Hatledal" userId="da83bdda-499a-4427-8775-f375be339a54" providerId="ADAL" clId="{D4F7D428-4D3F-4D7F-A708-D669671558DA}" dt="2021-03-14T18:48:42.145" v="14726"/>
          <ac:spMkLst>
            <pc:docMk/>
            <pc:sldMk cId="2906686999" sldId="509"/>
            <ac:spMk id="34" creationId="{84F95488-2DB0-49B3-9BFF-BFCA9CAC3B54}"/>
          </ac:spMkLst>
        </pc:spChg>
        <pc:spChg chg="mod">
          <ac:chgData name="Lars Ivar Hatledal" userId="da83bdda-499a-4427-8775-f375be339a54" providerId="ADAL" clId="{D4F7D428-4D3F-4D7F-A708-D669671558DA}" dt="2021-03-18T22:06:52.023" v="29187" actId="20577"/>
          <ac:spMkLst>
            <pc:docMk/>
            <pc:sldMk cId="2906686999" sldId="509"/>
            <ac:spMk id="45" creationId="{ABE05CC7-87A9-4E18-AEA7-3CFE48FBF726}"/>
          </ac:spMkLst>
        </pc:spChg>
        <pc:spChg chg="mod">
          <ac:chgData name="Lars Ivar Hatledal" userId="da83bdda-499a-4427-8775-f375be339a54" providerId="ADAL" clId="{D4F7D428-4D3F-4D7F-A708-D669671558DA}" dt="2021-03-14T18:48:42.145" v="14726"/>
          <ac:spMkLst>
            <pc:docMk/>
            <pc:sldMk cId="2906686999" sldId="509"/>
            <ac:spMk id="53" creationId="{B0BA705D-8895-4578-BD31-102C5F9F2F09}"/>
          </ac:spMkLst>
        </pc:spChg>
        <pc:spChg chg="mod">
          <ac:chgData name="Lars Ivar Hatledal" userId="da83bdda-499a-4427-8775-f375be339a54" providerId="ADAL" clId="{D4F7D428-4D3F-4D7F-A708-D669671558DA}" dt="2021-03-14T18:48:42.145" v="14726"/>
          <ac:spMkLst>
            <pc:docMk/>
            <pc:sldMk cId="2906686999" sldId="509"/>
            <ac:spMk id="54" creationId="{5C99A416-8F6F-46B8-8D2F-27C80A0120E2}"/>
          </ac:spMkLst>
        </pc:spChg>
        <pc:spChg chg="mod">
          <ac:chgData name="Lars Ivar Hatledal" userId="da83bdda-499a-4427-8775-f375be339a54" providerId="ADAL" clId="{D4F7D428-4D3F-4D7F-A708-D669671558DA}" dt="2021-03-14T18:48:42.145" v="14726"/>
          <ac:spMkLst>
            <pc:docMk/>
            <pc:sldMk cId="2906686999" sldId="509"/>
            <ac:spMk id="55" creationId="{51FD1FC9-F2E6-451B-8713-25E293D0A947}"/>
          </ac:spMkLst>
        </pc:spChg>
        <pc:spChg chg="mod">
          <ac:chgData name="Lars Ivar Hatledal" userId="da83bdda-499a-4427-8775-f375be339a54" providerId="ADAL" clId="{D4F7D428-4D3F-4D7F-A708-D669671558DA}" dt="2021-03-14T18:48:42.145" v="14726"/>
          <ac:spMkLst>
            <pc:docMk/>
            <pc:sldMk cId="2906686999" sldId="509"/>
            <ac:spMk id="56" creationId="{24B7A98B-9F74-4001-838A-2C8094FA4ADF}"/>
          </ac:spMkLst>
        </pc:spChg>
        <pc:grpChg chg="del">
          <ac:chgData name="Lars Ivar Hatledal" userId="da83bdda-499a-4427-8775-f375be339a54" providerId="ADAL" clId="{D4F7D428-4D3F-4D7F-A708-D669671558DA}" dt="2021-03-14T18:48:41.810" v="14725" actId="478"/>
          <ac:grpSpMkLst>
            <pc:docMk/>
            <pc:sldMk cId="2906686999" sldId="509"/>
            <ac:grpSpMk id="2" creationId="{FB0E3E3F-4D6E-4365-B8D1-477E1C1440EC}"/>
          </ac:grpSpMkLst>
        </pc:grpChg>
        <pc:grpChg chg="add mod">
          <ac:chgData name="Lars Ivar Hatledal" userId="da83bdda-499a-4427-8775-f375be339a54" providerId="ADAL" clId="{D4F7D428-4D3F-4D7F-A708-D669671558DA}" dt="2021-03-14T18:48:42.145" v="14726"/>
          <ac:grpSpMkLst>
            <pc:docMk/>
            <pc:sldMk cId="2906686999" sldId="509"/>
            <ac:grpSpMk id="23" creationId="{803DCF99-F818-4576-8A35-D94CDD57B135}"/>
          </ac:grpSpMkLst>
        </pc:grpChg>
        <pc:grpChg chg="mod">
          <ac:chgData name="Lars Ivar Hatledal" userId="da83bdda-499a-4427-8775-f375be339a54" providerId="ADAL" clId="{D4F7D428-4D3F-4D7F-A708-D669671558DA}" dt="2021-03-14T18:48:42.145" v="14726"/>
          <ac:grpSpMkLst>
            <pc:docMk/>
            <pc:sldMk cId="2906686999" sldId="509"/>
            <ac:grpSpMk id="24" creationId="{E90A95E2-50B2-4CCE-B991-D3CB68B3548D}"/>
          </ac:grpSpMkLst>
        </pc:grpChg>
        <pc:grpChg chg="mod">
          <ac:chgData name="Lars Ivar Hatledal" userId="da83bdda-499a-4427-8775-f375be339a54" providerId="ADAL" clId="{D4F7D428-4D3F-4D7F-A708-D669671558DA}" dt="2021-03-14T18:48:42.145" v="14726"/>
          <ac:grpSpMkLst>
            <pc:docMk/>
            <pc:sldMk cId="2906686999" sldId="509"/>
            <ac:grpSpMk id="25" creationId="{156BB470-016A-4DE2-8F77-A4C88D502951}"/>
          </ac:grpSpMkLst>
        </pc:grpChg>
        <pc:grpChg chg="mod">
          <ac:chgData name="Lars Ivar Hatledal" userId="da83bdda-499a-4427-8775-f375be339a54" providerId="ADAL" clId="{D4F7D428-4D3F-4D7F-A708-D669671558DA}" dt="2021-03-14T18:48:42.145" v="14726"/>
          <ac:grpSpMkLst>
            <pc:docMk/>
            <pc:sldMk cId="2906686999" sldId="509"/>
            <ac:grpSpMk id="26" creationId="{451C096D-BEFA-4529-8050-A4B2740C3D64}"/>
          </ac:grpSpMkLst>
        </pc:grpChg>
        <pc:grpChg chg="mod">
          <ac:chgData name="Lars Ivar Hatledal" userId="da83bdda-499a-4427-8775-f375be339a54" providerId="ADAL" clId="{D4F7D428-4D3F-4D7F-A708-D669671558DA}" dt="2021-03-14T18:48:42.145" v="14726"/>
          <ac:grpSpMkLst>
            <pc:docMk/>
            <pc:sldMk cId="2906686999" sldId="509"/>
            <ac:grpSpMk id="27" creationId="{930B7EEB-76A9-4182-8489-D19C2396FABF}"/>
          </ac:grpSpMkLst>
        </pc:grpChg>
        <pc:grpChg chg="mod">
          <ac:chgData name="Lars Ivar Hatledal" userId="da83bdda-499a-4427-8775-f375be339a54" providerId="ADAL" clId="{D4F7D428-4D3F-4D7F-A708-D669671558DA}" dt="2021-03-14T18:48:42.145" v="14726"/>
          <ac:grpSpMkLst>
            <pc:docMk/>
            <pc:sldMk cId="2906686999" sldId="509"/>
            <ac:grpSpMk id="28" creationId="{46B75775-36AE-4BE9-8DBD-DE78327CAFAF}"/>
          </ac:grpSpMkLst>
        </pc:grpChg>
        <pc:picChg chg="del">
          <ac:chgData name="Lars Ivar Hatledal" userId="da83bdda-499a-4427-8775-f375be339a54" providerId="ADAL" clId="{D4F7D428-4D3F-4D7F-A708-D669671558DA}" dt="2021-03-09T12:20:10.461" v="2318" actId="478"/>
          <ac:picMkLst>
            <pc:docMk/>
            <pc:sldMk cId="2906686999" sldId="509"/>
            <ac:picMk id="23" creationId="{44E316F0-0BC9-4563-947F-6A3F487C27CB}"/>
          </ac:picMkLst>
        </pc:picChg>
      </pc:sldChg>
      <pc:sldChg chg="modSp add mod modNotesTx">
        <pc:chgData name="Lars Ivar Hatledal" userId="da83bdda-499a-4427-8775-f375be339a54" providerId="ADAL" clId="{D4F7D428-4D3F-4D7F-A708-D669671558DA}" dt="2021-03-18T22:07:42.650" v="29276" actId="20577"/>
        <pc:sldMkLst>
          <pc:docMk/>
          <pc:sldMk cId="2505317772" sldId="510"/>
        </pc:sldMkLst>
        <pc:spChg chg="mod">
          <ac:chgData name="Lars Ivar Hatledal" userId="da83bdda-499a-4427-8775-f375be339a54" providerId="ADAL" clId="{D4F7D428-4D3F-4D7F-A708-D669671558DA}" dt="2021-03-14T18:25:45.318" v="14311" actId="20577"/>
          <ac:spMkLst>
            <pc:docMk/>
            <pc:sldMk cId="2505317772" sldId="510"/>
            <ac:spMk id="7" creationId="{63991A79-2DF5-4987-8986-F8B6237BF2C9}"/>
          </ac:spMkLst>
        </pc:spChg>
        <pc:spChg chg="mod">
          <ac:chgData name="Lars Ivar Hatledal" userId="da83bdda-499a-4427-8775-f375be339a54" providerId="ADAL" clId="{D4F7D428-4D3F-4D7F-A708-D669671558DA}" dt="2021-03-13T15:44:57.801" v="5526" actId="404"/>
          <ac:spMkLst>
            <pc:docMk/>
            <pc:sldMk cId="2505317772" sldId="510"/>
            <ac:spMk id="45" creationId="{ABE05CC7-87A9-4E18-AEA7-3CFE48FBF726}"/>
          </ac:spMkLst>
        </pc:spChg>
      </pc:sldChg>
      <pc:sldChg chg="addSp delSp modSp add mod modNotesTx">
        <pc:chgData name="Lars Ivar Hatledal" userId="da83bdda-499a-4427-8775-f375be339a54" providerId="ADAL" clId="{D4F7D428-4D3F-4D7F-A708-D669671558DA}" dt="2021-03-18T20:49:22.679" v="26532" actId="20577"/>
        <pc:sldMkLst>
          <pc:docMk/>
          <pc:sldMk cId="3381423696" sldId="511"/>
        </pc:sldMkLst>
        <pc:spChg chg="add del mod">
          <ac:chgData name="Lars Ivar Hatledal" userId="da83bdda-499a-4427-8775-f375be339a54" providerId="ADAL" clId="{D4F7D428-4D3F-4D7F-A708-D669671558DA}" dt="2021-03-13T15:07:29.339" v="5133"/>
          <ac:spMkLst>
            <pc:docMk/>
            <pc:sldMk cId="3381423696" sldId="511"/>
            <ac:spMk id="5" creationId="{030C763E-052B-49A1-967D-9A70A605DAFF}"/>
          </ac:spMkLst>
        </pc:spChg>
        <pc:spChg chg="del mod">
          <ac:chgData name="Lars Ivar Hatledal" userId="da83bdda-499a-4427-8775-f375be339a54" providerId="ADAL" clId="{D4F7D428-4D3F-4D7F-A708-D669671558DA}" dt="2021-03-10T09:31:14.259" v="2755"/>
          <ac:spMkLst>
            <pc:docMk/>
            <pc:sldMk cId="3381423696" sldId="511"/>
            <ac:spMk id="7" creationId="{63991A79-2DF5-4987-8986-F8B6237BF2C9}"/>
          </ac:spMkLst>
        </pc:spChg>
        <pc:spChg chg="mod">
          <ac:chgData name="Lars Ivar Hatledal" userId="da83bdda-499a-4427-8775-f375be339a54" providerId="ADAL" clId="{D4F7D428-4D3F-4D7F-A708-D669671558DA}" dt="2021-03-13T15:46:31.785" v="5580" actId="20577"/>
          <ac:spMkLst>
            <pc:docMk/>
            <pc:sldMk cId="3381423696" sldId="511"/>
            <ac:spMk id="45" creationId="{ABE05CC7-87A9-4E18-AEA7-3CFE48FBF726}"/>
          </ac:spMkLst>
        </pc:spChg>
        <pc:graphicFrameChg chg="add del mod">
          <ac:chgData name="Lars Ivar Hatledal" userId="da83bdda-499a-4427-8775-f375be339a54" providerId="ADAL" clId="{D4F7D428-4D3F-4D7F-A708-D669671558DA}" dt="2021-03-13T15:07:18.639" v="5128" actId="478"/>
          <ac:graphicFrameMkLst>
            <pc:docMk/>
            <pc:sldMk cId="3381423696" sldId="511"/>
            <ac:graphicFrameMk id="3" creationId="{DAAEE9EC-336C-4D91-8763-4ACBF12E39E1}"/>
          </ac:graphicFrameMkLst>
        </pc:graphicFrameChg>
        <pc:picChg chg="add del mod">
          <ac:chgData name="Lars Ivar Hatledal" userId="da83bdda-499a-4427-8775-f375be339a54" providerId="ADAL" clId="{D4F7D428-4D3F-4D7F-A708-D669671558DA}" dt="2021-03-13T15:07:31.139" v="5134" actId="478"/>
          <ac:picMkLst>
            <pc:docMk/>
            <pc:sldMk cId="3381423696" sldId="511"/>
            <ac:picMk id="6" creationId="{37EBB45F-177C-49A2-B49B-CD433D1F5779}"/>
          </ac:picMkLst>
        </pc:picChg>
        <pc:picChg chg="add mod">
          <ac:chgData name="Lars Ivar Hatledal" userId="da83bdda-499a-4427-8775-f375be339a54" providerId="ADAL" clId="{D4F7D428-4D3F-4D7F-A708-D669671558DA}" dt="2021-03-13T15:07:29.339" v="5133"/>
          <ac:picMkLst>
            <pc:docMk/>
            <pc:sldMk cId="3381423696" sldId="511"/>
            <ac:picMk id="7" creationId="{A8CE818B-684D-4A26-ACF8-414DC924165B}"/>
          </ac:picMkLst>
        </pc:picChg>
      </pc:sldChg>
      <pc:sldChg chg="modSp new del mod">
        <pc:chgData name="Lars Ivar Hatledal" userId="da83bdda-499a-4427-8775-f375be339a54" providerId="ADAL" clId="{D4F7D428-4D3F-4D7F-A708-D669671558DA}" dt="2021-03-10T10:10:07.281" v="2899" actId="47"/>
        <pc:sldMkLst>
          <pc:docMk/>
          <pc:sldMk cId="3703355544" sldId="512"/>
        </pc:sldMkLst>
        <pc:spChg chg="mod">
          <ac:chgData name="Lars Ivar Hatledal" userId="da83bdda-499a-4427-8775-f375be339a54" providerId="ADAL" clId="{D4F7D428-4D3F-4D7F-A708-D669671558DA}" dt="2021-03-10T10:09:18.287" v="2897" actId="20577"/>
          <ac:spMkLst>
            <pc:docMk/>
            <pc:sldMk cId="3703355544" sldId="512"/>
            <ac:spMk id="2" creationId="{57DB9C47-C16B-4DA6-ABE6-3D88EFC4593E}"/>
          </ac:spMkLst>
        </pc:spChg>
      </pc:sldChg>
      <pc:sldChg chg="addSp delSp modSp add mod ord modNotesTx">
        <pc:chgData name="Lars Ivar Hatledal" userId="da83bdda-499a-4427-8775-f375be339a54" providerId="ADAL" clId="{D4F7D428-4D3F-4D7F-A708-D669671558DA}" dt="2021-03-18T21:32:16.799" v="26851" actId="20577"/>
        <pc:sldMkLst>
          <pc:docMk/>
          <pc:sldMk cId="2093270173" sldId="513"/>
        </pc:sldMkLst>
        <pc:spChg chg="add mod">
          <ac:chgData name="Lars Ivar Hatledal" userId="da83bdda-499a-4427-8775-f375be339a54" providerId="ADAL" clId="{D4F7D428-4D3F-4D7F-A708-D669671558DA}" dt="2021-03-15T17:14:11.341" v="14961" actId="113"/>
          <ac:spMkLst>
            <pc:docMk/>
            <pc:sldMk cId="2093270173" sldId="513"/>
            <ac:spMk id="5" creationId="{8C9FD91B-72BD-46F5-97D2-F51F6C1BB30C}"/>
          </ac:spMkLst>
        </pc:spChg>
        <pc:spChg chg="mod">
          <ac:chgData name="Lars Ivar Hatledal" userId="da83bdda-499a-4427-8775-f375be339a54" providerId="ADAL" clId="{D4F7D428-4D3F-4D7F-A708-D669671558DA}" dt="2021-03-18T19:25:26.785" v="23574" actId="207"/>
          <ac:spMkLst>
            <pc:docMk/>
            <pc:sldMk cId="2093270173" sldId="513"/>
            <ac:spMk id="45" creationId="{ABE05CC7-87A9-4E18-AEA7-3CFE48FBF726}"/>
          </ac:spMkLst>
        </pc:spChg>
        <pc:graphicFrameChg chg="del">
          <ac:chgData name="Lars Ivar Hatledal" userId="da83bdda-499a-4427-8775-f375be339a54" providerId="ADAL" clId="{D4F7D428-4D3F-4D7F-A708-D669671558DA}" dt="2021-03-10T10:10:15.527" v="2921" actId="478"/>
          <ac:graphicFrameMkLst>
            <pc:docMk/>
            <pc:sldMk cId="2093270173" sldId="513"/>
            <ac:graphicFrameMk id="3" creationId="{DAAEE9EC-336C-4D91-8763-4ACBF12E39E1}"/>
          </ac:graphicFrameMkLst>
        </pc:graphicFrameChg>
      </pc:sldChg>
      <pc:sldChg chg="addSp delSp modSp add mod modNotesTx">
        <pc:chgData name="Lars Ivar Hatledal" userId="da83bdda-499a-4427-8775-f375be339a54" providerId="ADAL" clId="{D4F7D428-4D3F-4D7F-A708-D669671558DA}" dt="2021-03-18T20:24:51.845" v="26473" actId="20577"/>
        <pc:sldMkLst>
          <pc:docMk/>
          <pc:sldMk cId="1277125344" sldId="514"/>
        </pc:sldMkLst>
        <pc:spChg chg="mod">
          <ac:chgData name="Lars Ivar Hatledal" userId="da83bdda-499a-4427-8775-f375be339a54" providerId="ADAL" clId="{D4F7D428-4D3F-4D7F-A708-D669671558DA}" dt="2021-03-18T20:23:35.573" v="26429" actId="403"/>
          <ac:spMkLst>
            <pc:docMk/>
            <pc:sldMk cId="1277125344" sldId="514"/>
            <ac:spMk id="7" creationId="{63991A79-2DF5-4987-8986-F8B6237BF2C9}"/>
          </ac:spMkLst>
        </pc:spChg>
        <pc:spChg chg="mod">
          <ac:chgData name="Lars Ivar Hatledal" userId="da83bdda-499a-4427-8775-f375be339a54" providerId="ADAL" clId="{D4F7D428-4D3F-4D7F-A708-D669671558DA}" dt="2021-03-14T18:47:12.960" v="14681"/>
          <ac:spMkLst>
            <pc:docMk/>
            <pc:sldMk cId="1277125344" sldId="514"/>
            <ac:spMk id="29" creationId="{0714D285-7437-4701-BD83-0285CAB509CA}"/>
          </ac:spMkLst>
        </pc:spChg>
        <pc:spChg chg="mod">
          <ac:chgData name="Lars Ivar Hatledal" userId="da83bdda-499a-4427-8775-f375be339a54" providerId="ADAL" clId="{D4F7D428-4D3F-4D7F-A708-D669671558DA}" dt="2021-03-14T18:47:12.960" v="14681"/>
          <ac:spMkLst>
            <pc:docMk/>
            <pc:sldMk cId="1277125344" sldId="514"/>
            <ac:spMk id="30" creationId="{C2132AFC-6A01-4589-8CB3-CBC637688621}"/>
          </ac:spMkLst>
        </pc:spChg>
        <pc:spChg chg="mod">
          <ac:chgData name="Lars Ivar Hatledal" userId="da83bdda-499a-4427-8775-f375be339a54" providerId="ADAL" clId="{D4F7D428-4D3F-4D7F-A708-D669671558DA}" dt="2021-03-14T18:47:12.960" v="14681"/>
          <ac:spMkLst>
            <pc:docMk/>
            <pc:sldMk cId="1277125344" sldId="514"/>
            <ac:spMk id="31" creationId="{D1F314FA-5C78-48F6-9E5C-4E133077960B}"/>
          </ac:spMkLst>
        </pc:spChg>
        <pc:spChg chg="mod">
          <ac:chgData name="Lars Ivar Hatledal" userId="da83bdda-499a-4427-8775-f375be339a54" providerId="ADAL" clId="{D4F7D428-4D3F-4D7F-A708-D669671558DA}" dt="2021-03-14T18:47:12.960" v="14681"/>
          <ac:spMkLst>
            <pc:docMk/>
            <pc:sldMk cId="1277125344" sldId="514"/>
            <ac:spMk id="32" creationId="{20D14960-E055-455A-A070-09E913C1342B}"/>
          </ac:spMkLst>
        </pc:spChg>
        <pc:spChg chg="mod">
          <ac:chgData name="Lars Ivar Hatledal" userId="da83bdda-499a-4427-8775-f375be339a54" providerId="ADAL" clId="{D4F7D428-4D3F-4D7F-A708-D669671558DA}" dt="2021-03-14T18:47:12.960" v="14681"/>
          <ac:spMkLst>
            <pc:docMk/>
            <pc:sldMk cId="1277125344" sldId="514"/>
            <ac:spMk id="33" creationId="{BB86D623-3A62-4AE2-814C-30001FE8D3B0}"/>
          </ac:spMkLst>
        </pc:spChg>
        <pc:spChg chg="mod">
          <ac:chgData name="Lars Ivar Hatledal" userId="da83bdda-499a-4427-8775-f375be339a54" providerId="ADAL" clId="{D4F7D428-4D3F-4D7F-A708-D669671558DA}" dt="2021-03-14T18:47:12.960" v="14681"/>
          <ac:spMkLst>
            <pc:docMk/>
            <pc:sldMk cId="1277125344" sldId="514"/>
            <ac:spMk id="34" creationId="{7107F169-1280-4F41-A14A-B762CCE40A2E}"/>
          </ac:spMkLst>
        </pc:spChg>
        <pc:spChg chg="mod">
          <ac:chgData name="Lars Ivar Hatledal" userId="da83bdda-499a-4427-8775-f375be339a54" providerId="ADAL" clId="{D4F7D428-4D3F-4D7F-A708-D669671558DA}" dt="2021-03-11T13:42:53.677" v="4342" actId="207"/>
          <ac:spMkLst>
            <pc:docMk/>
            <pc:sldMk cId="1277125344" sldId="514"/>
            <ac:spMk id="45" creationId="{ABE05CC7-87A9-4E18-AEA7-3CFE48FBF726}"/>
          </ac:spMkLst>
        </pc:spChg>
        <pc:spChg chg="mod">
          <ac:chgData name="Lars Ivar Hatledal" userId="da83bdda-499a-4427-8775-f375be339a54" providerId="ADAL" clId="{D4F7D428-4D3F-4D7F-A708-D669671558DA}" dt="2021-03-14T18:47:12.960" v="14681"/>
          <ac:spMkLst>
            <pc:docMk/>
            <pc:sldMk cId="1277125344" sldId="514"/>
            <ac:spMk id="53" creationId="{D2427D3E-B292-475C-87DD-4737863E80AB}"/>
          </ac:spMkLst>
        </pc:spChg>
        <pc:spChg chg="mod">
          <ac:chgData name="Lars Ivar Hatledal" userId="da83bdda-499a-4427-8775-f375be339a54" providerId="ADAL" clId="{D4F7D428-4D3F-4D7F-A708-D669671558DA}" dt="2021-03-14T18:47:12.960" v="14681"/>
          <ac:spMkLst>
            <pc:docMk/>
            <pc:sldMk cId="1277125344" sldId="514"/>
            <ac:spMk id="54" creationId="{2832780B-A744-4BE8-8722-4B6EEA3CE3AC}"/>
          </ac:spMkLst>
        </pc:spChg>
        <pc:spChg chg="mod">
          <ac:chgData name="Lars Ivar Hatledal" userId="da83bdda-499a-4427-8775-f375be339a54" providerId="ADAL" clId="{D4F7D428-4D3F-4D7F-A708-D669671558DA}" dt="2021-03-14T18:47:12.960" v="14681"/>
          <ac:spMkLst>
            <pc:docMk/>
            <pc:sldMk cId="1277125344" sldId="514"/>
            <ac:spMk id="55" creationId="{0C717D4E-D62F-4A15-B28E-931B23F542C5}"/>
          </ac:spMkLst>
        </pc:spChg>
        <pc:spChg chg="mod">
          <ac:chgData name="Lars Ivar Hatledal" userId="da83bdda-499a-4427-8775-f375be339a54" providerId="ADAL" clId="{D4F7D428-4D3F-4D7F-A708-D669671558DA}" dt="2021-03-14T18:47:12.960" v="14681"/>
          <ac:spMkLst>
            <pc:docMk/>
            <pc:sldMk cId="1277125344" sldId="514"/>
            <ac:spMk id="56" creationId="{E22F85E1-5DBA-4C51-84F4-96AFB3AB9032}"/>
          </ac:spMkLst>
        </pc:spChg>
        <pc:grpChg chg="del">
          <ac:chgData name="Lars Ivar Hatledal" userId="da83bdda-499a-4427-8775-f375be339a54" providerId="ADAL" clId="{D4F7D428-4D3F-4D7F-A708-D669671558DA}" dt="2021-03-14T18:47:12.531" v="14680" actId="478"/>
          <ac:grpSpMkLst>
            <pc:docMk/>
            <pc:sldMk cId="1277125344" sldId="514"/>
            <ac:grpSpMk id="2" creationId="{FB0E3E3F-4D6E-4365-B8D1-477E1C1440EC}"/>
          </ac:grpSpMkLst>
        </pc:grpChg>
        <pc:grpChg chg="add mod">
          <ac:chgData name="Lars Ivar Hatledal" userId="da83bdda-499a-4427-8775-f375be339a54" providerId="ADAL" clId="{D4F7D428-4D3F-4D7F-A708-D669671558DA}" dt="2021-03-14T18:47:12.960" v="14681"/>
          <ac:grpSpMkLst>
            <pc:docMk/>
            <pc:sldMk cId="1277125344" sldId="514"/>
            <ac:grpSpMk id="23" creationId="{53BE4AE7-D5E7-4A9A-926F-272567058E61}"/>
          </ac:grpSpMkLst>
        </pc:grpChg>
        <pc:grpChg chg="mod">
          <ac:chgData name="Lars Ivar Hatledal" userId="da83bdda-499a-4427-8775-f375be339a54" providerId="ADAL" clId="{D4F7D428-4D3F-4D7F-A708-D669671558DA}" dt="2021-03-14T18:47:12.960" v="14681"/>
          <ac:grpSpMkLst>
            <pc:docMk/>
            <pc:sldMk cId="1277125344" sldId="514"/>
            <ac:grpSpMk id="24" creationId="{22B27584-E5F9-4475-929D-878283228892}"/>
          </ac:grpSpMkLst>
        </pc:grpChg>
        <pc:grpChg chg="mod">
          <ac:chgData name="Lars Ivar Hatledal" userId="da83bdda-499a-4427-8775-f375be339a54" providerId="ADAL" clId="{D4F7D428-4D3F-4D7F-A708-D669671558DA}" dt="2021-03-14T18:47:12.960" v="14681"/>
          <ac:grpSpMkLst>
            <pc:docMk/>
            <pc:sldMk cId="1277125344" sldId="514"/>
            <ac:grpSpMk id="25" creationId="{11933508-E1B7-4277-A0CE-377826E310AF}"/>
          </ac:grpSpMkLst>
        </pc:grpChg>
        <pc:grpChg chg="mod">
          <ac:chgData name="Lars Ivar Hatledal" userId="da83bdda-499a-4427-8775-f375be339a54" providerId="ADAL" clId="{D4F7D428-4D3F-4D7F-A708-D669671558DA}" dt="2021-03-14T18:47:12.960" v="14681"/>
          <ac:grpSpMkLst>
            <pc:docMk/>
            <pc:sldMk cId="1277125344" sldId="514"/>
            <ac:grpSpMk id="26" creationId="{CFFBEB65-5911-480D-A449-5DEBEC26E31B}"/>
          </ac:grpSpMkLst>
        </pc:grpChg>
        <pc:grpChg chg="mod">
          <ac:chgData name="Lars Ivar Hatledal" userId="da83bdda-499a-4427-8775-f375be339a54" providerId="ADAL" clId="{D4F7D428-4D3F-4D7F-A708-D669671558DA}" dt="2021-03-14T18:47:12.960" v="14681"/>
          <ac:grpSpMkLst>
            <pc:docMk/>
            <pc:sldMk cId="1277125344" sldId="514"/>
            <ac:grpSpMk id="27" creationId="{4EA3476B-D3CA-49BF-A5A9-993F5AC39D90}"/>
          </ac:grpSpMkLst>
        </pc:grpChg>
        <pc:grpChg chg="mod">
          <ac:chgData name="Lars Ivar Hatledal" userId="da83bdda-499a-4427-8775-f375be339a54" providerId="ADAL" clId="{D4F7D428-4D3F-4D7F-A708-D669671558DA}" dt="2021-03-14T18:47:12.960" v="14681"/>
          <ac:grpSpMkLst>
            <pc:docMk/>
            <pc:sldMk cId="1277125344" sldId="514"/>
            <ac:grpSpMk id="28" creationId="{88F8DCA8-B596-46BB-9688-158E5459B47A}"/>
          </ac:grpSpMkLst>
        </pc:grpChg>
      </pc:sldChg>
      <pc:sldChg chg="addSp delSp modSp new mod modClrScheme chgLayout modNotesTx">
        <pc:chgData name="Lars Ivar Hatledal" userId="da83bdda-499a-4427-8775-f375be339a54" providerId="ADAL" clId="{D4F7D428-4D3F-4D7F-A708-D669671558DA}" dt="2021-03-18T22:18:34.347" v="29973" actId="20577"/>
        <pc:sldMkLst>
          <pc:docMk/>
          <pc:sldMk cId="2969954107" sldId="515"/>
        </pc:sldMkLst>
        <pc:spChg chg="mod">
          <ac:chgData name="Lars Ivar Hatledal" userId="da83bdda-499a-4427-8775-f375be339a54" providerId="ADAL" clId="{D4F7D428-4D3F-4D7F-A708-D669671558DA}" dt="2021-03-11T09:49:14.311" v="3708" actId="20577"/>
          <ac:spMkLst>
            <pc:docMk/>
            <pc:sldMk cId="2969954107" sldId="515"/>
            <ac:spMk id="2" creationId="{57C985A2-298E-43A5-B711-7C93BF8365C9}"/>
          </ac:spMkLst>
        </pc:spChg>
        <pc:spChg chg="del">
          <ac:chgData name="Lars Ivar Hatledal" userId="da83bdda-499a-4427-8775-f375be339a54" providerId="ADAL" clId="{D4F7D428-4D3F-4D7F-A708-D669671558DA}" dt="2021-03-10T10:27:20.046" v="3496" actId="26606"/>
          <ac:spMkLst>
            <pc:docMk/>
            <pc:sldMk cId="2969954107" sldId="515"/>
            <ac:spMk id="3" creationId="{A326D840-F689-49DF-8A7F-BEEB95F5513B}"/>
          </ac:spMkLst>
        </pc:spChg>
        <pc:spChg chg="add del mod">
          <ac:chgData name="Lars Ivar Hatledal" userId="da83bdda-499a-4427-8775-f375be339a54" providerId="ADAL" clId="{D4F7D428-4D3F-4D7F-A708-D669671558DA}" dt="2021-03-10T10:27:31.657" v="3498" actId="478"/>
          <ac:spMkLst>
            <pc:docMk/>
            <pc:sldMk cId="2969954107" sldId="515"/>
            <ac:spMk id="8" creationId="{43D785F3-5CA3-40FE-A984-02441645E23B}"/>
          </ac:spMkLst>
        </pc:spChg>
      </pc:sldChg>
      <pc:sldChg chg="addSp delSp modSp add mod modNotesTx">
        <pc:chgData name="Lars Ivar Hatledal" userId="da83bdda-499a-4427-8775-f375be339a54" providerId="ADAL" clId="{D4F7D428-4D3F-4D7F-A708-D669671558DA}" dt="2021-03-18T23:38:58.272" v="31032" actId="20577"/>
        <pc:sldMkLst>
          <pc:docMk/>
          <pc:sldMk cId="2321556187" sldId="516"/>
        </pc:sldMkLst>
        <pc:spChg chg="mod">
          <ac:chgData name="Lars Ivar Hatledal" userId="da83bdda-499a-4427-8775-f375be339a54" providerId="ADAL" clId="{D4F7D428-4D3F-4D7F-A708-D669671558DA}" dt="2021-03-14T16:26:16.348" v="11674" actId="20577"/>
          <ac:spMkLst>
            <pc:docMk/>
            <pc:sldMk cId="2321556187" sldId="516"/>
            <ac:spMk id="26" creationId="{F7012B31-D035-4588-A480-DACDA83B843C}"/>
          </ac:spMkLst>
        </pc:spChg>
        <pc:spChg chg="mod">
          <ac:chgData name="Lars Ivar Hatledal" userId="da83bdda-499a-4427-8775-f375be339a54" providerId="ADAL" clId="{D4F7D428-4D3F-4D7F-A708-D669671558DA}" dt="2021-03-11T13:43:10.823" v="4346" actId="404"/>
          <ac:spMkLst>
            <pc:docMk/>
            <pc:sldMk cId="2321556187" sldId="516"/>
            <ac:spMk id="28" creationId="{48703A56-96F6-4216-B29F-75E1A68FEBED}"/>
          </ac:spMkLst>
        </pc:spChg>
        <pc:spChg chg="mod">
          <ac:chgData name="Lars Ivar Hatledal" userId="da83bdda-499a-4427-8775-f375be339a54" providerId="ADAL" clId="{D4F7D428-4D3F-4D7F-A708-D669671558DA}" dt="2021-03-14T18:47:45.390" v="14697"/>
          <ac:spMkLst>
            <pc:docMk/>
            <pc:sldMk cId="2321556187" sldId="516"/>
            <ac:spMk id="45" creationId="{F22F236F-CD68-455E-94AC-A71A6F6C4A46}"/>
          </ac:spMkLst>
        </pc:spChg>
        <pc:spChg chg="mod">
          <ac:chgData name="Lars Ivar Hatledal" userId="da83bdda-499a-4427-8775-f375be339a54" providerId="ADAL" clId="{D4F7D428-4D3F-4D7F-A708-D669671558DA}" dt="2021-03-14T18:47:45.390" v="14697"/>
          <ac:spMkLst>
            <pc:docMk/>
            <pc:sldMk cId="2321556187" sldId="516"/>
            <ac:spMk id="46" creationId="{572A695E-6660-4674-BF76-AEDC2622C03A}"/>
          </ac:spMkLst>
        </pc:spChg>
        <pc:spChg chg="mod">
          <ac:chgData name="Lars Ivar Hatledal" userId="da83bdda-499a-4427-8775-f375be339a54" providerId="ADAL" clId="{D4F7D428-4D3F-4D7F-A708-D669671558DA}" dt="2021-03-14T18:47:45.390" v="14697"/>
          <ac:spMkLst>
            <pc:docMk/>
            <pc:sldMk cId="2321556187" sldId="516"/>
            <ac:spMk id="47" creationId="{BF68D7E9-0B49-4601-84CA-6DCDD023BAAD}"/>
          </ac:spMkLst>
        </pc:spChg>
        <pc:spChg chg="mod">
          <ac:chgData name="Lars Ivar Hatledal" userId="da83bdda-499a-4427-8775-f375be339a54" providerId="ADAL" clId="{D4F7D428-4D3F-4D7F-A708-D669671558DA}" dt="2021-03-14T18:47:45.390" v="14697"/>
          <ac:spMkLst>
            <pc:docMk/>
            <pc:sldMk cId="2321556187" sldId="516"/>
            <ac:spMk id="48" creationId="{0234165B-5729-41FF-8D29-D7F02C63A150}"/>
          </ac:spMkLst>
        </pc:spChg>
        <pc:spChg chg="mod">
          <ac:chgData name="Lars Ivar Hatledal" userId="da83bdda-499a-4427-8775-f375be339a54" providerId="ADAL" clId="{D4F7D428-4D3F-4D7F-A708-D669671558DA}" dt="2021-03-14T18:47:45.390" v="14697"/>
          <ac:spMkLst>
            <pc:docMk/>
            <pc:sldMk cId="2321556187" sldId="516"/>
            <ac:spMk id="49" creationId="{F7684E0D-ACDE-4177-B921-B8C001EC8BAB}"/>
          </ac:spMkLst>
        </pc:spChg>
        <pc:spChg chg="mod">
          <ac:chgData name="Lars Ivar Hatledal" userId="da83bdda-499a-4427-8775-f375be339a54" providerId="ADAL" clId="{D4F7D428-4D3F-4D7F-A708-D669671558DA}" dt="2021-03-14T18:47:45.390" v="14697"/>
          <ac:spMkLst>
            <pc:docMk/>
            <pc:sldMk cId="2321556187" sldId="516"/>
            <ac:spMk id="50" creationId="{A458208E-566B-4542-8164-985FE3A74ED7}"/>
          </ac:spMkLst>
        </pc:spChg>
        <pc:spChg chg="mod">
          <ac:chgData name="Lars Ivar Hatledal" userId="da83bdda-499a-4427-8775-f375be339a54" providerId="ADAL" clId="{D4F7D428-4D3F-4D7F-A708-D669671558DA}" dt="2021-03-14T18:47:45.390" v="14697"/>
          <ac:spMkLst>
            <pc:docMk/>
            <pc:sldMk cId="2321556187" sldId="516"/>
            <ac:spMk id="51" creationId="{9D4C971E-D036-4E30-ADDF-4B41F1DAD992}"/>
          </ac:spMkLst>
        </pc:spChg>
        <pc:spChg chg="mod">
          <ac:chgData name="Lars Ivar Hatledal" userId="da83bdda-499a-4427-8775-f375be339a54" providerId="ADAL" clId="{D4F7D428-4D3F-4D7F-A708-D669671558DA}" dt="2021-03-14T18:47:45.390" v="14697"/>
          <ac:spMkLst>
            <pc:docMk/>
            <pc:sldMk cId="2321556187" sldId="516"/>
            <ac:spMk id="52" creationId="{A10D2ABD-ED6E-4A26-BABD-F9E25F65CDDE}"/>
          </ac:spMkLst>
        </pc:spChg>
        <pc:spChg chg="mod">
          <ac:chgData name="Lars Ivar Hatledal" userId="da83bdda-499a-4427-8775-f375be339a54" providerId="ADAL" clId="{D4F7D428-4D3F-4D7F-A708-D669671558DA}" dt="2021-03-14T18:47:45.390" v="14697"/>
          <ac:spMkLst>
            <pc:docMk/>
            <pc:sldMk cId="2321556187" sldId="516"/>
            <ac:spMk id="53" creationId="{05EE33EE-6139-4E76-8945-8C4922E7C8E9}"/>
          </ac:spMkLst>
        </pc:spChg>
        <pc:spChg chg="mod">
          <ac:chgData name="Lars Ivar Hatledal" userId="da83bdda-499a-4427-8775-f375be339a54" providerId="ADAL" clId="{D4F7D428-4D3F-4D7F-A708-D669671558DA}" dt="2021-03-14T18:47:45.390" v="14697"/>
          <ac:spMkLst>
            <pc:docMk/>
            <pc:sldMk cId="2321556187" sldId="516"/>
            <ac:spMk id="54" creationId="{5E885E88-3D52-499C-BB0E-FB0E846E6111}"/>
          </ac:spMkLst>
        </pc:spChg>
        <pc:grpChg chg="add mod">
          <ac:chgData name="Lars Ivar Hatledal" userId="da83bdda-499a-4427-8775-f375be339a54" providerId="ADAL" clId="{D4F7D428-4D3F-4D7F-A708-D669671558DA}" dt="2021-03-14T18:47:45.390" v="14697"/>
          <ac:grpSpMkLst>
            <pc:docMk/>
            <pc:sldMk cId="2321556187" sldId="516"/>
            <ac:grpSpMk id="21" creationId="{26D233CE-AB83-45EE-9AB5-BC8BE3CDA524}"/>
          </ac:grpSpMkLst>
        </pc:grpChg>
        <pc:grpChg chg="mod">
          <ac:chgData name="Lars Ivar Hatledal" userId="da83bdda-499a-4427-8775-f375be339a54" providerId="ADAL" clId="{D4F7D428-4D3F-4D7F-A708-D669671558DA}" dt="2021-03-14T18:47:45.390" v="14697"/>
          <ac:grpSpMkLst>
            <pc:docMk/>
            <pc:sldMk cId="2321556187" sldId="516"/>
            <ac:grpSpMk id="22" creationId="{EA25AF80-F85E-44BA-9F58-79CB75EB21AB}"/>
          </ac:grpSpMkLst>
        </pc:grpChg>
        <pc:grpChg chg="mod">
          <ac:chgData name="Lars Ivar Hatledal" userId="da83bdda-499a-4427-8775-f375be339a54" providerId="ADAL" clId="{D4F7D428-4D3F-4D7F-A708-D669671558DA}" dt="2021-03-14T18:47:45.390" v="14697"/>
          <ac:grpSpMkLst>
            <pc:docMk/>
            <pc:sldMk cId="2321556187" sldId="516"/>
            <ac:grpSpMk id="23" creationId="{82E4C6CB-F7E2-4BAD-A3A0-B5281A5264C7}"/>
          </ac:grpSpMkLst>
        </pc:grpChg>
        <pc:grpChg chg="mod">
          <ac:chgData name="Lars Ivar Hatledal" userId="da83bdda-499a-4427-8775-f375be339a54" providerId="ADAL" clId="{D4F7D428-4D3F-4D7F-A708-D669671558DA}" dt="2021-03-14T18:47:45.390" v="14697"/>
          <ac:grpSpMkLst>
            <pc:docMk/>
            <pc:sldMk cId="2321556187" sldId="516"/>
            <ac:grpSpMk id="24" creationId="{4D74A66B-065C-46A9-9ADD-E815540CDD3E}"/>
          </ac:grpSpMkLst>
        </pc:grpChg>
        <pc:grpChg chg="del">
          <ac:chgData name="Lars Ivar Hatledal" userId="da83bdda-499a-4427-8775-f375be339a54" providerId="ADAL" clId="{D4F7D428-4D3F-4D7F-A708-D669671558DA}" dt="2021-03-14T18:47:45.151" v="14696" actId="478"/>
          <ac:grpSpMkLst>
            <pc:docMk/>
            <pc:sldMk cId="2321556187" sldId="516"/>
            <ac:grpSpMk id="25" creationId="{0F9B27B9-640B-4A52-AAF6-8A48C7C5619E}"/>
          </ac:grpSpMkLst>
        </pc:grpChg>
        <pc:grpChg chg="mod">
          <ac:chgData name="Lars Ivar Hatledal" userId="da83bdda-499a-4427-8775-f375be339a54" providerId="ADAL" clId="{D4F7D428-4D3F-4D7F-A708-D669671558DA}" dt="2021-03-14T18:47:45.390" v="14697"/>
          <ac:grpSpMkLst>
            <pc:docMk/>
            <pc:sldMk cId="2321556187" sldId="516"/>
            <ac:grpSpMk id="43" creationId="{D73292AF-ED71-48D5-8D50-8565B641CA76}"/>
          </ac:grpSpMkLst>
        </pc:grpChg>
        <pc:grpChg chg="mod">
          <ac:chgData name="Lars Ivar Hatledal" userId="da83bdda-499a-4427-8775-f375be339a54" providerId="ADAL" clId="{D4F7D428-4D3F-4D7F-A708-D669671558DA}" dt="2021-03-14T18:47:45.390" v="14697"/>
          <ac:grpSpMkLst>
            <pc:docMk/>
            <pc:sldMk cId="2321556187" sldId="516"/>
            <ac:grpSpMk id="44" creationId="{289A223E-D86B-4DB8-9502-31D4D37684CD}"/>
          </ac:grpSpMkLst>
        </pc:grpChg>
      </pc:sldChg>
      <pc:sldChg chg="addSp delSp modSp add mod modNotesTx">
        <pc:chgData name="Lars Ivar Hatledal" userId="da83bdda-499a-4427-8775-f375be339a54" providerId="ADAL" clId="{D4F7D428-4D3F-4D7F-A708-D669671558DA}" dt="2021-03-18T18:13:47.723" v="21680" actId="20577"/>
        <pc:sldMkLst>
          <pc:docMk/>
          <pc:sldMk cId="1014196345" sldId="517"/>
        </pc:sldMkLst>
        <pc:spChg chg="add del mod">
          <ac:chgData name="Lars Ivar Hatledal" userId="da83bdda-499a-4427-8775-f375be339a54" providerId="ADAL" clId="{D4F7D428-4D3F-4D7F-A708-D669671558DA}" dt="2021-03-13T15:08:08.520" v="5138"/>
          <ac:spMkLst>
            <pc:docMk/>
            <pc:sldMk cId="1014196345" sldId="517"/>
            <ac:spMk id="23" creationId="{D26AE6EB-5A0F-4FF7-8553-03B8745B462C}"/>
          </ac:spMkLst>
        </pc:spChg>
        <pc:spChg chg="add mod">
          <ac:chgData name="Lars Ivar Hatledal" userId="da83bdda-499a-4427-8775-f375be339a54" providerId="ADAL" clId="{D4F7D428-4D3F-4D7F-A708-D669671558DA}" dt="2021-03-14T16:23:31.429" v="11583" actId="404"/>
          <ac:spMkLst>
            <pc:docMk/>
            <pc:sldMk cId="1014196345" sldId="517"/>
            <ac:spMk id="24" creationId="{EA8F9227-DAE2-4987-AD75-3CECC1B5F7DB}"/>
          </ac:spMkLst>
        </pc:spChg>
        <pc:spChg chg="mod">
          <ac:chgData name="Lars Ivar Hatledal" userId="da83bdda-499a-4427-8775-f375be339a54" providerId="ADAL" clId="{D4F7D428-4D3F-4D7F-A708-D669671558DA}" dt="2021-03-11T13:27:52.924" v="3724" actId="20577"/>
          <ac:spMkLst>
            <pc:docMk/>
            <pc:sldMk cId="1014196345" sldId="517"/>
            <ac:spMk id="26" creationId="{F7012B31-D035-4588-A480-DACDA83B843C}"/>
          </ac:spMkLst>
        </pc:spChg>
        <pc:spChg chg="mod">
          <ac:chgData name="Lars Ivar Hatledal" userId="da83bdda-499a-4427-8775-f375be339a54" providerId="ADAL" clId="{D4F7D428-4D3F-4D7F-A708-D669671558DA}" dt="2021-03-11T11:46:31.110" v="3721" actId="20577"/>
          <ac:spMkLst>
            <pc:docMk/>
            <pc:sldMk cId="1014196345" sldId="517"/>
            <ac:spMk id="28" creationId="{48703A56-96F6-4216-B29F-75E1A68FEBED}"/>
          </ac:spMkLst>
        </pc:spChg>
        <pc:spChg chg="mod">
          <ac:chgData name="Lars Ivar Hatledal" userId="da83bdda-499a-4427-8775-f375be339a54" providerId="ADAL" clId="{D4F7D428-4D3F-4D7F-A708-D669671558DA}" dt="2021-03-14T18:48:32.181" v="14720"/>
          <ac:spMkLst>
            <pc:docMk/>
            <pc:sldMk cId="1014196345" sldId="517"/>
            <ac:spMk id="51" creationId="{5B08BAEA-FF71-446E-8CFD-9A34B616029A}"/>
          </ac:spMkLst>
        </pc:spChg>
        <pc:spChg chg="mod">
          <ac:chgData name="Lars Ivar Hatledal" userId="da83bdda-499a-4427-8775-f375be339a54" providerId="ADAL" clId="{D4F7D428-4D3F-4D7F-A708-D669671558DA}" dt="2021-03-14T18:48:32.181" v="14720"/>
          <ac:spMkLst>
            <pc:docMk/>
            <pc:sldMk cId="1014196345" sldId="517"/>
            <ac:spMk id="52" creationId="{BD9458E4-B517-4AFD-AE55-DA06620AB9E7}"/>
          </ac:spMkLst>
        </pc:spChg>
        <pc:spChg chg="mod">
          <ac:chgData name="Lars Ivar Hatledal" userId="da83bdda-499a-4427-8775-f375be339a54" providerId="ADAL" clId="{D4F7D428-4D3F-4D7F-A708-D669671558DA}" dt="2021-03-14T18:48:32.181" v="14720"/>
          <ac:spMkLst>
            <pc:docMk/>
            <pc:sldMk cId="1014196345" sldId="517"/>
            <ac:spMk id="53" creationId="{3386DBE6-9A7B-4E89-96AA-40B1C7074152}"/>
          </ac:spMkLst>
        </pc:spChg>
        <pc:spChg chg="mod">
          <ac:chgData name="Lars Ivar Hatledal" userId="da83bdda-499a-4427-8775-f375be339a54" providerId="ADAL" clId="{D4F7D428-4D3F-4D7F-A708-D669671558DA}" dt="2021-03-14T18:48:32.181" v="14720"/>
          <ac:spMkLst>
            <pc:docMk/>
            <pc:sldMk cId="1014196345" sldId="517"/>
            <ac:spMk id="54" creationId="{4395C871-1FD4-4FD8-BB8D-C09D2B8B060B}"/>
          </ac:spMkLst>
        </pc:spChg>
        <pc:spChg chg="mod">
          <ac:chgData name="Lars Ivar Hatledal" userId="da83bdda-499a-4427-8775-f375be339a54" providerId="ADAL" clId="{D4F7D428-4D3F-4D7F-A708-D669671558DA}" dt="2021-03-14T18:48:32.181" v="14720"/>
          <ac:spMkLst>
            <pc:docMk/>
            <pc:sldMk cId="1014196345" sldId="517"/>
            <ac:spMk id="55" creationId="{03D0A695-5AC9-434F-A07E-47E34CB10E92}"/>
          </ac:spMkLst>
        </pc:spChg>
        <pc:spChg chg="mod">
          <ac:chgData name="Lars Ivar Hatledal" userId="da83bdda-499a-4427-8775-f375be339a54" providerId="ADAL" clId="{D4F7D428-4D3F-4D7F-A708-D669671558DA}" dt="2021-03-14T18:48:32.181" v="14720"/>
          <ac:spMkLst>
            <pc:docMk/>
            <pc:sldMk cId="1014196345" sldId="517"/>
            <ac:spMk id="56" creationId="{62AFFCF8-5C82-4CC7-9716-38E18DB065B6}"/>
          </ac:spMkLst>
        </pc:spChg>
        <pc:spChg chg="mod">
          <ac:chgData name="Lars Ivar Hatledal" userId="da83bdda-499a-4427-8775-f375be339a54" providerId="ADAL" clId="{D4F7D428-4D3F-4D7F-A708-D669671558DA}" dt="2021-03-14T18:48:32.181" v="14720"/>
          <ac:spMkLst>
            <pc:docMk/>
            <pc:sldMk cId="1014196345" sldId="517"/>
            <ac:spMk id="57" creationId="{EBF722D9-D6ED-4E9D-8277-22BE40ECD81C}"/>
          </ac:spMkLst>
        </pc:spChg>
        <pc:spChg chg="mod">
          <ac:chgData name="Lars Ivar Hatledal" userId="da83bdda-499a-4427-8775-f375be339a54" providerId="ADAL" clId="{D4F7D428-4D3F-4D7F-A708-D669671558DA}" dt="2021-03-14T18:48:32.181" v="14720"/>
          <ac:spMkLst>
            <pc:docMk/>
            <pc:sldMk cId="1014196345" sldId="517"/>
            <ac:spMk id="58" creationId="{95FB4D26-6FD0-46A1-95E8-E39ED870C5F9}"/>
          </ac:spMkLst>
        </pc:spChg>
        <pc:spChg chg="mod">
          <ac:chgData name="Lars Ivar Hatledal" userId="da83bdda-499a-4427-8775-f375be339a54" providerId="ADAL" clId="{D4F7D428-4D3F-4D7F-A708-D669671558DA}" dt="2021-03-14T18:48:32.181" v="14720"/>
          <ac:spMkLst>
            <pc:docMk/>
            <pc:sldMk cId="1014196345" sldId="517"/>
            <ac:spMk id="59" creationId="{9D22481C-36EA-4C74-A6F7-5CFA37B35739}"/>
          </ac:spMkLst>
        </pc:spChg>
        <pc:spChg chg="mod">
          <ac:chgData name="Lars Ivar Hatledal" userId="da83bdda-499a-4427-8775-f375be339a54" providerId="ADAL" clId="{D4F7D428-4D3F-4D7F-A708-D669671558DA}" dt="2021-03-14T18:48:32.181" v="14720"/>
          <ac:spMkLst>
            <pc:docMk/>
            <pc:sldMk cId="1014196345" sldId="517"/>
            <ac:spMk id="60" creationId="{8BFEC8F5-F084-468C-AE6F-106EB050B5ED}"/>
          </ac:spMkLst>
        </pc:spChg>
        <pc:grpChg chg="del">
          <ac:chgData name="Lars Ivar Hatledal" userId="da83bdda-499a-4427-8775-f375be339a54" providerId="ADAL" clId="{D4F7D428-4D3F-4D7F-A708-D669671558DA}" dt="2021-03-14T18:48:31.810" v="14719" actId="478"/>
          <ac:grpSpMkLst>
            <pc:docMk/>
            <pc:sldMk cId="1014196345" sldId="517"/>
            <ac:grpSpMk id="25" creationId="{0F9B27B9-640B-4A52-AAF6-8A48C7C5619E}"/>
          </ac:grpSpMkLst>
        </pc:grpChg>
        <pc:grpChg chg="add mod">
          <ac:chgData name="Lars Ivar Hatledal" userId="da83bdda-499a-4427-8775-f375be339a54" providerId="ADAL" clId="{D4F7D428-4D3F-4D7F-A708-D669671558DA}" dt="2021-03-14T18:48:32.181" v="14720"/>
          <ac:grpSpMkLst>
            <pc:docMk/>
            <pc:sldMk cId="1014196345" sldId="517"/>
            <ac:grpSpMk id="45" creationId="{53BA5C3D-A509-4BF9-AE34-59555423227B}"/>
          </ac:grpSpMkLst>
        </pc:grpChg>
        <pc:grpChg chg="mod">
          <ac:chgData name="Lars Ivar Hatledal" userId="da83bdda-499a-4427-8775-f375be339a54" providerId="ADAL" clId="{D4F7D428-4D3F-4D7F-A708-D669671558DA}" dt="2021-03-14T18:48:32.181" v="14720"/>
          <ac:grpSpMkLst>
            <pc:docMk/>
            <pc:sldMk cId="1014196345" sldId="517"/>
            <ac:grpSpMk id="46" creationId="{9C49A430-C347-4276-9CEF-BD434B8B5848}"/>
          </ac:grpSpMkLst>
        </pc:grpChg>
        <pc:grpChg chg="mod">
          <ac:chgData name="Lars Ivar Hatledal" userId="da83bdda-499a-4427-8775-f375be339a54" providerId="ADAL" clId="{D4F7D428-4D3F-4D7F-A708-D669671558DA}" dt="2021-03-14T18:48:32.181" v="14720"/>
          <ac:grpSpMkLst>
            <pc:docMk/>
            <pc:sldMk cId="1014196345" sldId="517"/>
            <ac:grpSpMk id="47" creationId="{5133A0DA-B913-4029-8B1E-8FFE0C12A16B}"/>
          </ac:grpSpMkLst>
        </pc:grpChg>
        <pc:grpChg chg="mod">
          <ac:chgData name="Lars Ivar Hatledal" userId="da83bdda-499a-4427-8775-f375be339a54" providerId="ADAL" clId="{D4F7D428-4D3F-4D7F-A708-D669671558DA}" dt="2021-03-14T18:48:32.181" v="14720"/>
          <ac:grpSpMkLst>
            <pc:docMk/>
            <pc:sldMk cId="1014196345" sldId="517"/>
            <ac:grpSpMk id="48" creationId="{DAC10D52-6C85-451C-8468-88E0A07A965B}"/>
          </ac:grpSpMkLst>
        </pc:grpChg>
        <pc:grpChg chg="mod">
          <ac:chgData name="Lars Ivar Hatledal" userId="da83bdda-499a-4427-8775-f375be339a54" providerId="ADAL" clId="{D4F7D428-4D3F-4D7F-A708-D669671558DA}" dt="2021-03-14T18:48:32.181" v="14720"/>
          <ac:grpSpMkLst>
            <pc:docMk/>
            <pc:sldMk cId="1014196345" sldId="517"/>
            <ac:grpSpMk id="49" creationId="{452C579E-A1DE-4444-B040-5448E8878FB2}"/>
          </ac:grpSpMkLst>
        </pc:grpChg>
        <pc:grpChg chg="mod">
          <ac:chgData name="Lars Ivar Hatledal" userId="da83bdda-499a-4427-8775-f375be339a54" providerId="ADAL" clId="{D4F7D428-4D3F-4D7F-A708-D669671558DA}" dt="2021-03-14T18:48:32.181" v="14720"/>
          <ac:grpSpMkLst>
            <pc:docMk/>
            <pc:sldMk cId="1014196345" sldId="517"/>
            <ac:grpSpMk id="50" creationId="{F6166983-7802-4401-8D6B-07FA3018B89C}"/>
          </ac:grpSpMkLst>
        </pc:grpChg>
        <pc:picChg chg="add del">
          <ac:chgData name="Lars Ivar Hatledal" userId="da83bdda-499a-4427-8775-f375be339a54" providerId="ADAL" clId="{D4F7D428-4D3F-4D7F-A708-D669671558DA}" dt="2021-03-13T15:07:56.157" v="5136"/>
          <ac:picMkLst>
            <pc:docMk/>
            <pc:sldMk cId="1014196345" sldId="517"/>
            <ac:picMk id="2" creationId="{F633BB82-10D8-402E-BAB7-75A33265843B}"/>
          </ac:picMkLst>
        </pc:picChg>
        <pc:picChg chg="del">
          <ac:chgData name="Lars Ivar Hatledal" userId="da83bdda-499a-4427-8775-f375be339a54" providerId="ADAL" clId="{D4F7D428-4D3F-4D7F-A708-D669671558DA}" dt="2021-03-11T13:27:51.059" v="3723" actId="478"/>
          <ac:picMkLst>
            <pc:docMk/>
            <pc:sldMk cId="1014196345" sldId="517"/>
            <ac:picMk id="22" creationId="{5DC11D89-FBA8-4BB1-A15D-90EFD8BBFA98}"/>
          </ac:picMkLst>
        </pc:picChg>
        <pc:picChg chg="del">
          <ac:chgData name="Lars Ivar Hatledal" userId="da83bdda-499a-4427-8775-f375be339a54" providerId="ADAL" clId="{D4F7D428-4D3F-4D7F-A708-D669671558DA}" dt="2021-03-11T13:27:50.449" v="3722" actId="478"/>
          <ac:picMkLst>
            <pc:docMk/>
            <pc:sldMk cId="1014196345" sldId="517"/>
            <ac:picMk id="23" creationId="{65508086-799B-4715-A72B-95F1F89695CB}"/>
          </ac:picMkLst>
        </pc:picChg>
        <pc:picChg chg="add mod">
          <ac:chgData name="Lars Ivar Hatledal" userId="da83bdda-499a-4427-8775-f375be339a54" providerId="ADAL" clId="{D4F7D428-4D3F-4D7F-A708-D669671558DA}" dt="2021-03-14T15:34:34.956" v="10102" actId="1076"/>
          <ac:picMkLst>
            <pc:docMk/>
            <pc:sldMk cId="1014196345" sldId="517"/>
            <ac:picMk id="43" creationId="{28966F7F-0384-4448-8D3B-AFBD8D3C62AE}"/>
          </ac:picMkLst>
        </pc:picChg>
        <pc:picChg chg="add mod">
          <ac:chgData name="Lars Ivar Hatledal" userId="da83bdda-499a-4427-8775-f375be339a54" providerId="ADAL" clId="{D4F7D428-4D3F-4D7F-A708-D669671558DA}" dt="2021-03-13T16:23:38.864" v="6693" actId="1076"/>
          <ac:picMkLst>
            <pc:docMk/>
            <pc:sldMk cId="1014196345" sldId="517"/>
            <ac:picMk id="44" creationId="{91AE6796-D09F-4C09-BDA1-011BAFECF03E}"/>
          </ac:picMkLst>
        </pc:picChg>
      </pc:sldChg>
      <pc:sldChg chg="addSp delSp modSp add mod modNotesTx">
        <pc:chgData name="Lars Ivar Hatledal" userId="da83bdda-499a-4427-8775-f375be339a54" providerId="ADAL" clId="{D4F7D428-4D3F-4D7F-A708-D669671558DA}" dt="2021-03-18T20:11:25.371" v="25901" actId="1076"/>
        <pc:sldMkLst>
          <pc:docMk/>
          <pc:sldMk cId="1171378971" sldId="518"/>
        </pc:sldMkLst>
        <pc:spChg chg="mod">
          <ac:chgData name="Lars Ivar Hatledal" userId="da83bdda-499a-4427-8775-f375be339a54" providerId="ADAL" clId="{D4F7D428-4D3F-4D7F-A708-D669671558DA}" dt="2021-03-18T20:11:09.672" v="25882" actId="403"/>
          <ac:spMkLst>
            <pc:docMk/>
            <pc:sldMk cId="1171378971" sldId="518"/>
            <ac:spMk id="26" creationId="{F7012B31-D035-4588-A480-DACDA83B843C}"/>
          </ac:spMkLst>
        </pc:spChg>
        <pc:spChg chg="mod">
          <ac:chgData name="Lars Ivar Hatledal" userId="da83bdda-499a-4427-8775-f375be339a54" providerId="ADAL" clId="{D4F7D428-4D3F-4D7F-A708-D669671558DA}" dt="2021-03-18T19:25:04.174" v="23571" actId="207"/>
          <ac:spMkLst>
            <pc:docMk/>
            <pc:sldMk cId="1171378971" sldId="518"/>
            <ac:spMk id="28" creationId="{48703A56-96F6-4216-B29F-75E1A68FEBED}"/>
          </ac:spMkLst>
        </pc:spChg>
        <pc:spChg chg="mod">
          <ac:chgData name="Lars Ivar Hatledal" userId="da83bdda-499a-4427-8775-f375be339a54" providerId="ADAL" clId="{D4F7D428-4D3F-4D7F-A708-D669671558DA}" dt="2021-03-14T18:48:45.150" v="14728"/>
          <ac:spMkLst>
            <pc:docMk/>
            <pc:sldMk cId="1171378971" sldId="518"/>
            <ac:spMk id="47" creationId="{75D42D94-B370-434E-BE41-C140A775F0D8}"/>
          </ac:spMkLst>
        </pc:spChg>
        <pc:spChg chg="mod">
          <ac:chgData name="Lars Ivar Hatledal" userId="da83bdda-499a-4427-8775-f375be339a54" providerId="ADAL" clId="{D4F7D428-4D3F-4D7F-A708-D669671558DA}" dt="2021-03-14T18:48:45.150" v="14728"/>
          <ac:spMkLst>
            <pc:docMk/>
            <pc:sldMk cId="1171378971" sldId="518"/>
            <ac:spMk id="48" creationId="{78E09C54-8216-48EB-A86E-D60D653B280A}"/>
          </ac:spMkLst>
        </pc:spChg>
        <pc:spChg chg="mod">
          <ac:chgData name="Lars Ivar Hatledal" userId="da83bdda-499a-4427-8775-f375be339a54" providerId="ADAL" clId="{D4F7D428-4D3F-4D7F-A708-D669671558DA}" dt="2021-03-14T18:48:45.150" v="14728"/>
          <ac:spMkLst>
            <pc:docMk/>
            <pc:sldMk cId="1171378971" sldId="518"/>
            <ac:spMk id="49" creationId="{4D42B779-6151-42A9-8A9B-27C110BBA27B}"/>
          </ac:spMkLst>
        </pc:spChg>
        <pc:spChg chg="mod">
          <ac:chgData name="Lars Ivar Hatledal" userId="da83bdda-499a-4427-8775-f375be339a54" providerId="ADAL" clId="{D4F7D428-4D3F-4D7F-A708-D669671558DA}" dt="2021-03-14T18:48:45.150" v="14728"/>
          <ac:spMkLst>
            <pc:docMk/>
            <pc:sldMk cId="1171378971" sldId="518"/>
            <ac:spMk id="50" creationId="{EC5BFF20-5FF5-43EF-8CE6-8D1655CC36C2}"/>
          </ac:spMkLst>
        </pc:spChg>
        <pc:spChg chg="mod">
          <ac:chgData name="Lars Ivar Hatledal" userId="da83bdda-499a-4427-8775-f375be339a54" providerId="ADAL" clId="{D4F7D428-4D3F-4D7F-A708-D669671558DA}" dt="2021-03-14T18:48:45.150" v="14728"/>
          <ac:spMkLst>
            <pc:docMk/>
            <pc:sldMk cId="1171378971" sldId="518"/>
            <ac:spMk id="51" creationId="{E4D29649-B217-44ED-A50D-86B7D6530AF3}"/>
          </ac:spMkLst>
        </pc:spChg>
        <pc:spChg chg="mod">
          <ac:chgData name="Lars Ivar Hatledal" userId="da83bdda-499a-4427-8775-f375be339a54" providerId="ADAL" clId="{D4F7D428-4D3F-4D7F-A708-D669671558DA}" dt="2021-03-14T18:48:45.150" v="14728"/>
          <ac:spMkLst>
            <pc:docMk/>
            <pc:sldMk cId="1171378971" sldId="518"/>
            <ac:spMk id="52" creationId="{AEFD3F2B-A3D6-432B-BD2F-1E2DB0DEB68B}"/>
          </ac:spMkLst>
        </pc:spChg>
        <pc:spChg chg="mod">
          <ac:chgData name="Lars Ivar Hatledal" userId="da83bdda-499a-4427-8775-f375be339a54" providerId="ADAL" clId="{D4F7D428-4D3F-4D7F-A708-D669671558DA}" dt="2021-03-14T18:48:45.150" v="14728"/>
          <ac:spMkLst>
            <pc:docMk/>
            <pc:sldMk cId="1171378971" sldId="518"/>
            <ac:spMk id="53" creationId="{ED82C67F-34A2-4140-90C0-01270CC6ABFA}"/>
          </ac:spMkLst>
        </pc:spChg>
        <pc:spChg chg="mod">
          <ac:chgData name="Lars Ivar Hatledal" userId="da83bdda-499a-4427-8775-f375be339a54" providerId="ADAL" clId="{D4F7D428-4D3F-4D7F-A708-D669671558DA}" dt="2021-03-14T18:48:45.150" v="14728"/>
          <ac:spMkLst>
            <pc:docMk/>
            <pc:sldMk cId="1171378971" sldId="518"/>
            <ac:spMk id="54" creationId="{DE9887B7-DE39-4B4B-92ED-335C0A3B2177}"/>
          </ac:spMkLst>
        </pc:spChg>
        <pc:spChg chg="mod">
          <ac:chgData name="Lars Ivar Hatledal" userId="da83bdda-499a-4427-8775-f375be339a54" providerId="ADAL" clId="{D4F7D428-4D3F-4D7F-A708-D669671558DA}" dt="2021-03-14T18:48:45.150" v="14728"/>
          <ac:spMkLst>
            <pc:docMk/>
            <pc:sldMk cId="1171378971" sldId="518"/>
            <ac:spMk id="55" creationId="{89037D23-E580-4874-A06F-56EE37B798F8}"/>
          </ac:spMkLst>
        </pc:spChg>
        <pc:spChg chg="mod">
          <ac:chgData name="Lars Ivar Hatledal" userId="da83bdda-499a-4427-8775-f375be339a54" providerId="ADAL" clId="{D4F7D428-4D3F-4D7F-A708-D669671558DA}" dt="2021-03-14T18:48:45.150" v="14728"/>
          <ac:spMkLst>
            <pc:docMk/>
            <pc:sldMk cId="1171378971" sldId="518"/>
            <ac:spMk id="56" creationId="{6014D9D0-5A15-4A45-9D3A-1482F5263043}"/>
          </ac:spMkLst>
        </pc:spChg>
        <pc:grpChg chg="add mod">
          <ac:chgData name="Lars Ivar Hatledal" userId="da83bdda-499a-4427-8775-f375be339a54" providerId="ADAL" clId="{D4F7D428-4D3F-4D7F-A708-D669671558DA}" dt="2021-03-14T18:48:45.150" v="14728"/>
          <ac:grpSpMkLst>
            <pc:docMk/>
            <pc:sldMk cId="1171378971" sldId="518"/>
            <ac:grpSpMk id="23" creationId="{D8E45DFE-45A3-4038-A161-20CA70E8F2A4}"/>
          </ac:grpSpMkLst>
        </pc:grpChg>
        <pc:grpChg chg="mod">
          <ac:chgData name="Lars Ivar Hatledal" userId="da83bdda-499a-4427-8775-f375be339a54" providerId="ADAL" clId="{D4F7D428-4D3F-4D7F-A708-D669671558DA}" dt="2021-03-14T18:48:45.150" v="14728"/>
          <ac:grpSpMkLst>
            <pc:docMk/>
            <pc:sldMk cId="1171378971" sldId="518"/>
            <ac:grpSpMk id="24" creationId="{B93FA4E0-7EBA-4F31-B658-A8CF64614FDF}"/>
          </ac:grpSpMkLst>
        </pc:grpChg>
        <pc:grpChg chg="del">
          <ac:chgData name="Lars Ivar Hatledal" userId="da83bdda-499a-4427-8775-f375be339a54" providerId="ADAL" clId="{D4F7D428-4D3F-4D7F-A708-D669671558DA}" dt="2021-03-14T18:48:44.840" v="14727" actId="478"/>
          <ac:grpSpMkLst>
            <pc:docMk/>
            <pc:sldMk cId="1171378971" sldId="518"/>
            <ac:grpSpMk id="25" creationId="{0F9B27B9-640B-4A52-AAF6-8A48C7C5619E}"/>
          </ac:grpSpMkLst>
        </pc:grpChg>
        <pc:grpChg chg="mod">
          <ac:chgData name="Lars Ivar Hatledal" userId="da83bdda-499a-4427-8775-f375be339a54" providerId="ADAL" clId="{D4F7D428-4D3F-4D7F-A708-D669671558DA}" dt="2021-03-14T18:48:45.150" v="14728"/>
          <ac:grpSpMkLst>
            <pc:docMk/>
            <pc:sldMk cId="1171378971" sldId="518"/>
            <ac:grpSpMk id="43" creationId="{C115BC4B-07D5-4758-A59F-AD960F1550F3}"/>
          </ac:grpSpMkLst>
        </pc:grpChg>
        <pc:grpChg chg="mod">
          <ac:chgData name="Lars Ivar Hatledal" userId="da83bdda-499a-4427-8775-f375be339a54" providerId="ADAL" clId="{D4F7D428-4D3F-4D7F-A708-D669671558DA}" dt="2021-03-14T18:48:45.150" v="14728"/>
          <ac:grpSpMkLst>
            <pc:docMk/>
            <pc:sldMk cId="1171378971" sldId="518"/>
            <ac:grpSpMk id="44" creationId="{943FA32C-A190-4305-908F-E082C7504A06}"/>
          </ac:grpSpMkLst>
        </pc:grpChg>
        <pc:grpChg chg="mod">
          <ac:chgData name="Lars Ivar Hatledal" userId="da83bdda-499a-4427-8775-f375be339a54" providerId="ADAL" clId="{D4F7D428-4D3F-4D7F-A708-D669671558DA}" dt="2021-03-14T18:48:45.150" v="14728"/>
          <ac:grpSpMkLst>
            <pc:docMk/>
            <pc:sldMk cId="1171378971" sldId="518"/>
            <ac:grpSpMk id="45" creationId="{A2E03109-FE84-4AFF-88CB-DD876CE07CBD}"/>
          </ac:grpSpMkLst>
        </pc:grpChg>
        <pc:grpChg chg="mod">
          <ac:chgData name="Lars Ivar Hatledal" userId="da83bdda-499a-4427-8775-f375be339a54" providerId="ADAL" clId="{D4F7D428-4D3F-4D7F-A708-D669671558DA}" dt="2021-03-14T18:48:45.150" v="14728"/>
          <ac:grpSpMkLst>
            <pc:docMk/>
            <pc:sldMk cId="1171378971" sldId="518"/>
            <ac:grpSpMk id="46" creationId="{08018D11-21B5-4837-89A8-D2B106A9DFA6}"/>
          </ac:grpSpMkLst>
        </pc:grpChg>
        <pc:picChg chg="add mod">
          <ac:chgData name="Lars Ivar Hatledal" userId="da83bdda-499a-4427-8775-f375be339a54" providerId="ADAL" clId="{D4F7D428-4D3F-4D7F-A708-D669671558DA}" dt="2021-03-18T20:11:25.371" v="25901" actId="1076"/>
          <ac:picMkLst>
            <pc:docMk/>
            <pc:sldMk cId="1171378971" sldId="518"/>
            <ac:picMk id="2" creationId="{6E9CB4FB-8042-4DA3-B9EA-DCD17E700301}"/>
          </ac:picMkLst>
        </pc:picChg>
      </pc:sldChg>
      <pc:sldChg chg="addSp delSp modSp mod modNotesTx">
        <pc:chgData name="Lars Ivar Hatledal" userId="da83bdda-499a-4427-8775-f375be339a54" providerId="ADAL" clId="{D4F7D428-4D3F-4D7F-A708-D669671558DA}" dt="2021-03-18T22:11:02.938" v="29498" actId="20577"/>
        <pc:sldMkLst>
          <pc:docMk/>
          <pc:sldMk cId="1671744915" sldId="519"/>
        </pc:sldMkLst>
        <pc:spChg chg="del">
          <ac:chgData name="Lars Ivar Hatledal" userId="da83bdda-499a-4427-8775-f375be339a54" providerId="ADAL" clId="{D4F7D428-4D3F-4D7F-A708-D669671558DA}" dt="2021-03-14T16:27:12.927" v="11675" actId="478"/>
          <ac:spMkLst>
            <pc:docMk/>
            <pc:sldMk cId="1671744915" sldId="519"/>
            <ac:spMk id="21" creationId="{A025DCAC-E437-40D0-8A2E-7D20DB7A3F00}"/>
          </ac:spMkLst>
        </pc:spChg>
        <pc:spChg chg="add mod">
          <ac:chgData name="Lars Ivar Hatledal" userId="da83bdda-499a-4427-8775-f375be339a54" providerId="ADAL" clId="{D4F7D428-4D3F-4D7F-A708-D669671558DA}" dt="2021-03-18T19:06:14.155" v="22971" actId="2710"/>
          <ac:spMkLst>
            <pc:docMk/>
            <pc:sldMk cId="1671744915" sldId="519"/>
            <ac:spMk id="23" creationId="{FB028DC4-029B-407D-8F6B-C523579AFE54}"/>
          </ac:spMkLst>
        </pc:spChg>
        <pc:spChg chg="del">
          <ac:chgData name="Lars Ivar Hatledal" userId="da83bdda-499a-4427-8775-f375be339a54" providerId="ADAL" clId="{D4F7D428-4D3F-4D7F-A708-D669671558DA}" dt="2021-03-14T16:27:17.752" v="11676" actId="478"/>
          <ac:spMkLst>
            <pc:docMk/>
            <pc:sldMk cId="1671744915" sldId="519"/>
            <ac:spMk id="26" creationId="{F7012B31-D035-4588-A480-DACDA83B843C}"/>
          </ac:spMkLst>
        </pc:spChg>
        <pc:spChg chg="mod">
          <ac:chgData name="Lars Ivar Hatledal" userId="da83bdda-499a-4427-8775-f375be339a54" providerId="ADAL" clId="{D4F7D428-4D3F-4D7F-A708-D669671558DA}" dt="2021-03-14T18:48:16.890" v="14711"/>
          <ac:spMkLst>
            <pc:docMk/>
            <pc:sldMk cId="1671744915" sldId="519"/>
            <ac:spMk id="46" creationId="{27BE6337-1EDD-4A82-84CA-3AFE97412072}"/>
          </ac:spMkLst>
        </pc:spChg>
        <pc:spChg chg="mod">
          <ac:chgData name="Lars Ivar Hatledal" userId="da83bdda-499a-4427-8775-f375be339a54" providerId="ADAL" clId="{D4F7D428-4D3F-4D7F-A708-D669671558DA}" dt="2021-03-14T18:48:16.890" v="14711"/>
          <ac:spMkLst>
            <pc:docMk/>
            <pc:sldMk cId="1671744915" sldId="519"/>
            <ac:spMk id="47" creationId="{EF554511-14F7-442F-914B-AA9EE2B5DC60}"/>
          </ac:spMkLst>
        </pc:spChg>
        <pc:spChg chg="mod">
          <ac:chgData name="Lars Ivar Hatledal" userId="da83bdda-499a-4427-8775-f375be339a54" providerId="ADAL" clId="{D4F7D428-4D3F-4D7F-A708-D669671558DA}" dt="2021-03-14T18:48:16.890" v="14711"/>
          <ac:spMkLst>
            <pc:docMk/>
            <pc:sldMk cId="1671744915" sldId="519"/>
            <ac:spMk id="48" creationId="{8122B6E6-9220-4C40-A6AA-0E59820690AD}"/>
          </ac:spMkLst>
        </pc:spChg>
        <pc:spChg chg="mod">
          <ac:chgData name="Lars Ivar Hatledal" userId="da83bdda-499a-4427-8775-f375be339a54" providerId="ADAL" clId="{D4F7D428-4D3F-4D7F-A708-D669671558DA}" dt="2021-03-14T18:48:16.890" v="14711"/>
          <ac:spMkLst>
            <pc:docMk/>
            <pc:sldMk cId="1671744915" sldId="519"/>
            <ac:spMk id="49" creationId="{894A7734-E251-4756-90E2-BE84B7669FE9}"/>
          </ac:spMkLst>
        </pc:spChg>
        <pc:spChg chg="mod">
          <ac:chgData name="Lars Ivar Hatledal" userId="da83bdda-499a-4427-8775-f375be339a54" providerId="ADAL" clId="{D4F7D428-4D3F-4D7F-A708-D669671558DA}" dt="2021-03-14T18:48:16.890" v="14711"/>
          <ac:spMkLst>
            <pc:docMk/>
            <pc:sldMk cId="1671744915" sldId="519"/>
            <ac:spMk id="50" creationId="{1BDD84B9-F331-4F8E-810C-0139E1B9F204}"/>
          </ac:spMkLst>
        </pc:spChg>
        <pc:spChg chg="mod">
          <ac:chgData name="Lars Ivar Hatledal" userId="da83bdda-499a-4427-8775-f375be339a54" providerId="ADAL" clId="{D4F7D428-4D3F-4D7F-A708-D669671558DA}" dt="2021-03-14T18:48:16.890" v="14711"/>
          <ac:spMkLst>
            <pc:docMk/>
            <pc:sldMk cId="1671744915" sldId="519"/>
            <ac:spMk id="51" creationId="{2E4D3DB0-DACF-45A1-9840-79145B1001FB}"/>
          </ac:spMkLst>
        </pc:spChg>
        <pc:spChg chg="mod">
          <ac:chgData name="Lars Ivar Hatledal" userId="da83bdda-499a-4427-8775-f375be339a54" providerId="ADAL" clId="{D4F7D428-4D3F-4D7F-A708-D669671558DA}" dt="2021-03-14T18:48:16.890" v="14711"/>
          <ac:spMkLst>
            <pc:docMk/>
            <pc:sldMk cId="1671744915" sldId="519"/>
            <ac:spMk id="52" creationId="{CE46028B-3047-4A41-8564-4EEA8CC60569}"/>
          </ac:spMkLst>
        </pc:spChg>
        <pc:spChg chg="mod">
          <ac:chgData name="Lars Ivar Hatledal" userId="da83bdda-499a-4427-8775-f375be339a54" providerId="ADAL" clId="{D4F7D428-4D3F-4D7F-A708-D669671558DA}" dt="2021-03-14T18:48:16.890" v="14711"/>
          <ac:spMkLst>
            <pc:docMk/>
            <pc:sldMk cId="1671744915" sldId="519"/>
            <ac:spMk id="53" creationId="{FEBC3816-57EC-41A5-8D10-4FDF73AB61FE}"/>
          </ac:spMkLst>
        </pc:spChg>
        <pc:spChg chg="mod">
          <ac:chgData name="Lars Ivar Hatledal" userId="da83bdda-499a-4427-8775-f375be339a54" providerId="ADAL" clId="{D4F7D428-4D3F-4D7F-A708-D669671558DA}" dt="2021-03-14T18:48:16.890" v="14711"/>
          <ac:spMkLst>
            <pc:docMk/>
            <pc:sldMk cId="1671744915" sldId="519"/>
            <ac:spMk id="54" creationId="{CF8D446F-22F1-48B8-8718-E1AF44546280}"/>
          </ac:spMkLst>
        </pc:spChg>
        <pc:spChg chg="mod">
          <ac:chgData name="Lars Ivar Hatledal" userId="da83bdda-499a-4427-8775-f375be339a54" providerId="ADAL" clId="{D4F7D428-4D3F-4D7F-A708-D669671558DA}" dt="2021-03-14T18:48:16.890" v="14711"/>
          <ac:spMkLst>
            <pc:docMk/>
            <pc:sldMk cId="1671744915" sldId="519"/>
            <ac:spMk id="55" creationId="{0E87F57D-4D55-4FFA-948B-6BDE0FEF24FF}"/>
          </ac:spMkLst>
        </pc:spChg>
        <pc:spChg chg="mod">
          <ac:chgData name="Lars Ivar Hatledal" userId="da83bdda-499a-4427-8775-f375be339a54" providerId="ADAL" clId="{D4F7D428-4D3F-4D7F-A708-D669671558DA}" dt="2021-03-14T18:48:20.370" v="14714"/>
          <ac:spMkLst>
            <pc:docMk/>
            <pc:sldMk cId="1671744915" sldId="519"/>
            <ac:spMk id="62" creationId="{0E256E96-CF1C-40DC-BFB7-7B71E061EE40}"/>
          </ac:spMkLst>
        </pc:spChg>
        <pc:spChg chg="mod">
          <ac:chgData name="Lars Ivar Hatledal" userId="da83bdda-499a-4427-8775-f375be339a54" providerId="ADAL" clId="{D4F7D428-4D3F-4D7F-A708-D669671558DA}" dt="2021-03-14T18:48:20.370" v="14714"/>
          <ac:spMkLst>
            <pc:docMk/>
            <pc:sldMk cId="1671744915" sldId="519"/>
            <ac:spMk id="63" creationId="{3123333B-EEB1-48E3-A940-7C3C0A139E07}"/>
          </ac:spMkLst>
        </pc:spChg>
        <pc:spChg chg="mod">
          <ac:chgData name="Lars Ivar Hatledal" userId="da83bdda-499a-4427-8775-f375be339a54" providerId="ADAL" clId="{D4F7D428-4D3F-4D7F-A708-D669671558DA}" dt="2021-03-14T18:48:20.370" v="14714"/>
          <ac:spMkLst>
            <pc:docMk/>
            <pc:sldMk cId="1671744915" sldId="519"/>
            <ac:spMk id="64" creationId="{F45552E5-8CC2-4BFF-97EA-8DC793E347C8}"/>
          </ac:spMkLst>
        </pc:spChg>
        <pc:spChg chg="mod">
          <ac:chgData name="Lars Ivar Hatledal" userId="da83bdda-499a-4427-8775-f375be339a54" providerId="ADAL" clId="{D4F7D428-4D3F-4D7F-A708-D669671558DA}" dt="2021-03-14T18:48:20.370" v="14714"/>
          <ac:spMkLst>
            <pc:docMk/>
            <pc:sldMk cId="1671744915" sldId="519"/>
            <ac:spMk id="65" creationId="{0CA02617-108C-4700-BE02-A5281A1CA982}"/>
          </ac:spMkLst>
        </pc:spChg>
        <pc:spChg chg="mod">
          <ac:chgData name="Lars Ivar Hatledal" userId="da83bdda-499a-4427-8775-f375be339a54" providerId="ADAL" clId="{D4F7D428-4D3F-4D7F-A708-D669671558DA}" dt="2021-03-14T18:48:20.370" v="14714"/>
          <ac:spMkLst>
            <pc:docMk/>
            <pc:sldMk cId="1671744915" sldId="519"/>
            <ac:spMk id="66" creationId="{225543D0-DFDD-45AB-AE9D-4BAFD659F9FA}"/>
          </ac:spMkLst>
        </pc:spChg>
        <pc:spChg chg="mod">
          <ac:chgData name="Lars Ivar Hatledal" userId="da83bdda-499a-4427-8775-f375be339a54" providerId="ADAL" clId="{D4F7D428-4D3F-4D7F-A708-D669671558DA}" dt="2021-03-14T18:48:20.370" v="14714"/>
          <ac:spMkLst>
            <pc:docMk/>
            <pc:sldMk cId="1671744915" sldId="519"/>
            <ac:spMk id="67" creationId="{246A98C2-BD5C-43D5-BBCF-077CFF9C8CE1}"/>
          </ac:spMkLst>
        </pc:spChg>
        <pc:spChg chg="mod">
          <ac:chgData name="Lars Ivar Hatledal" userId="da83bdda-499a-4427-8775-f375be339a54" providerId="ADAL" clId="{D4F7D428-4D3F-4D7F-A708-D669671558DA}" dt="2021-03-14T18:48:20.370" v="14714"/>
          <ac:spMkLst>
            <pc:docMk/>
            <pc:sldMk cId="1671744915" sldId="519"/>
            <ac:spMk id="68" creationId="{86929454-2D56-44F9-BCD1-6FEE5A09E276}"/>
          </ac:spMkLst>
        </pc:spChg>
        <pc:spChg chg="mod">
          <ac:chgData name="Lars Ivar Hatledal" userId="da83bdda-499a-4427-8775-f375be339a54" providerId="ADAL" clId="{D4F7D428-4D3F-4D7F-A708-D669671558DA}" dt="2021-03-14T18:48:20.370" v="14714"/>
          <ac:spMkLst>
            <pc:docMk/>
            <pc:sldMk cId="1671744915" sldId="519"/>
            <ac:spMk id="69" creationId="{C7ECD5A8-BA1E-4381-A8FA-0B165E64B466}"/>
          </ac:spMkLst>
        </pc:spChg>
        <pc:spChg chg="mod">
          <ac:chgData name="Lars Ivar Hatledal" userId="da83bdda-499a-4427-8775-f375be339a54" providerId="ADAL" clId="{D4F7D428-4D3F-4D7F-A708-D669671558DA}" dt="2021-03-14T18:48:20.370" v="14714"/>
          <ac:spMkLst>
            <pc:docMk/>
            <pc:sldMk cId="1671744915" sldId="519"/>
            <ac:spMk id="70" creationId="{358F9795-7B2C-4897-9B47-92D7AEFF9D50}"/>
          </ac:spMkLst>
        </pc:spChg>
        <pc:spChg chg="mod">
          <ac:chgData name="Lars Ivar Hatledal" userId="da83bdda-499a-4427-8775-f375be339a54" providerId="ADAL" clId="{D4F7D428-4D3F-4D7F-A708-D669671558DA}" dt="2021-03-14T18:48:20.370" v="14714"/>
          <ac:spMkLst>
            <pc:docMk/>
            <pc:sldMk cId="1671744915" sldId="519"/>
            <ac:spMk id="71" creationId="{AF4147B9-26EC-4F3B-8C23-09A4C130F736}"/>
          </ac:spMkLst>
        </pc:spChg>
        <pc:grpChg chg="add del mod">
          <ac:chgData name="Lars Ivar Hatledal" userId="da83bdda-499a-4427-8775-f375be339a54" providerId="ADAL" clId="{D4F7D428-4D3F-4D7F-A708-D669671558DA}" dt="2021-03-14T18:48:18.030" v="14712" actId="478"/>
          <ac:grpSpMkLst>
            <pc:docMk/>
            <pc:sldMk cId="1671744915" sldId="519"/>
            <ac:grpSpMk id="22" creationId="{2365278B-924B-470F-9F67-067AC6708771}"/>
          </ac:grpSpMkLst>
        </pc:grpChg>
        <pc:grpChg chg="mod">
          <ac:chgData name="Lars Ivar Hatledal" userId="da83bdda-499a-4427-8775-f375be339a54" providerId="ADAL" clId="{D4F7D428-4D3F-4D7F-A708-D669671558DA}" dt="2021-03-14T18:48:16.890" v="14711"/>
          <ac:grpSpMkLst>
            <pc:docMk/>
            <pc:sldMk cId="1671744915" sldId="519"/>
            <ac:grpSpMk id="24" creationId="{16AB270E-6342-4B06-80DD-B0E40E885579}"/>
          </ac:grpSpMkLst>
        </pc:grpChg>
        <pc:grpChg chg="del">
          <ac:chgData name="Lars Ivar Hatledal" userId="da83bdda-499a-4427-8775-f375be339a54" providerId="ADAL" clId="{D4F7D428-4D3F-4D7F-A708-D669671558DA}" dt="2021-03-14T18:48:20.010" v="14713" actId="478"/>
          <ac:grpSpMkLst>
            <pc:docMk/>
            <pc:sldMk cId="1671744915" sldId="519"/>
            <ac:grpSpMk id="25" creationId="{0F9B27B9-640B-4A52-AAF6-8A48C7C5619E}"/>
          </ac:grpSpMkLst>
        </pc:grpChg>
        <pc:grpChg chg="mod">
          <ac:chgData name="Lars Ivar Hatledal" userId="da83bdda-499a-4427-8775-f375be339a54" providerId="ADAL" clId="{D4F7D428-4D3F-4D7F-A708-D669671558DA}" dt="2021-03-14T18:48:16.890" v="14711"/>
          <ac:grpSpMkLst>
            <pc:docMk/>
            <pc:sldMk cId="1671744915" sldId="519"/>
            <ac:grpSpMk id="26" creationId="{8D310C40-19C0-4822-90E5-C1AF38BB55F4}"/>
          </ac:grpSpMkLst>
        </pc:grpChg>
        <pc:grpChg chg="mod">
          <ac:chgData name="Lars Ivar Hatledal" userId="da83bdda-499a-4427-8775-f375be339a54" providerId="ADAL" clId="{D4F7D428-4D3F-4D7F-A708-D669671558DA}" dt="2021-03-14T18:48:16.890" v="14711"/>
          <ac:grpSpMkLst>
            <pc:docMk/>
            <pc:sldMk cId="1671744915" sldId="519"/>
            <ac:grpSpMk id="43" creationId="{51E60D83-3C07-4C5D-A980-1FCFC4B1BBB5}"/>
          </ac:grpSpMkLst>
        </pc:grpChg>
        <pc:grpChg chg="mod">
          <ac:chgData name="Lars Ivar Hatledal" userId="da83bdda-499a-4427-8775-f375be339a54" providerId="ADAL" clId="{D4F7D428-4D3F-4D7F-A708-D669671558DA}" dt="2021-03-14T18:48:16.890" v="14711"/>
          <ac:grpSpMkLst>
            <pc:docMk/>
            <pc:sldMk cId="1671744915" sldId="519"/>
            <ac:grpSpMk id="44" creationId="{429822A6-23AB-4DE6-BBCC-F5E4C97BAE2C}"/>
          </ac:grpSpMkLst>
        </pc:grpChg>
        <pc:grpChg chg="mod">
          <ac:chgData name="Lars Ivar Hatledal" userId="da83bdda-499a-4427-8775-f375be339a54" providerId="ADAL" clId="{D4F7D428-4D3F-4D7F-A708-D669671558DA}" dt="2021-03-14T18:48:16.890" v="14711"/>
          <ac:grpSpMkLst>
            <pc:docMk/>
            <pc:sldMk cId="1671744915" sldId="519"/>
            <ac:grpSpMk id="45" creationId="{317F739D-378C-4046-A143-3B2B14981AA8}"/>
          </ac:grpSpMkLst>
        </pc:grpChg>
        <pc:grpChg chg="add mod">
          <ac:chgData name="Lars Ivar Hatledal" userId="da83bdda-499a-4427-8775-f375be339a54" providerId="ADAL" clId="{D4F7D428-4D3F-4D7F-A708-D669671558DA}" dt="2021-03-14T18:48:20.370" v="14714"/>
          <ac:grpSpMkLst>
            <pc:docMk/>
            <pc:sldMk cId="1671744915" sldId="519"/>
            <ac:grpSpMk id="56" creationId="{532701DB-D6C1-4B60-B232-68D28A74B010}"/>
          </ac:grpSpMkLst>
        </pc:grpChg>
        <pc:grpChg chg="mod">
          <ac:chgData name="Lars Ivar Hatledal" userId="da83bdda-499a-4427-8775-f375be339a54" providerId="ADAL" clId="{D4F7D428-4D3F-4D7F-A708-D669671558DA}" dt="2021-03-14T18:48:20.370" v="14714"/>
          <ac:grpSpMkLst>
            <pc:docMk/>
            <pc:sldMk cId="1671744915" sldId="519"/>
            <ac:grpSpMk id="57" creationId="{7FAC3E26-8378-46E9-BC23-CEE9C5FA1C74}"/>
          </ac:grpSpMkLst>
        </pc:grpChg>
        <pc:grpChg chg="mod">
          <ac:chgData name="Lars Ivar Hatledal" userId="da83bdda-499a-4427-8775-f375be339a54" providerId="ADAL" clId="{D4F7D428-4D3F-4D7F-A708-D669671558DA}" dt="2021-03-14T18:48:20.370" v="14714"/>
          <ac:grpSpMkLst>
            <pc:docMk/>
            <pc:sldMk cId="1671744915" sldId="519"/>
            <ac:grpSpMk id="58" creationId="{183D183B-47EC-4FB6-8599-5516BC550011}"/>
          </ac:grpSpMkLst>
        </pc:grpChg>
        <pc:grpChg chg="mod">
          <ac:chgData name="Lars Ivar Hatledal" userId="da83bdda-499a-4427-8775-f375be339a54" providerId="ADAL" clId="{D4F7D428-4D3F-4D7F-A708-D669671558DA}" dt="2021-03-14T18:48:20.370" v="14714"/>
          <ac:grpSpMkLst>
            <pc:docMk/>
            <pc:sldMk cId="1671744915" sldId="519"/>
            <ac:grpSpMk id="59" creationId="{1BC4DF57-1B7B-467F-AAC3-A62F3BE2F7F3}"/>
          </ac:grpSpMkLst>
        </pc:grpChg>
        <pc:grpChg chg="mod">
          <ac:chgData name="Lars Ivar Hatledal" userId="da83bdda-499a-4427-8775-f375be339a54" providerId="ADAL" clId="{D4F7D428-4D3F-4D7F-A708-D669671558DA}" dt="2021-03-14T18:48:20.370" v="14714"/>
          <ac:grpSpMkLst>
            <pc:docMk/>
            <pc:sldMk cId="1671744915" sldId="519"/>
            <ac:grpSpMk id="60" creationId="{90F6B81A-153F-4AF6-AC09-7A84C4D33B9C}"/>
          </ac:grpSpMkLst>
        </pc:grpChg>
        <pc:grpChg chg="mod">
          <ac:chgData name="Lars Ivar Hatledal" userId="da83bdda-499a-4427-8775-f375be339a54" providerId="ADAL" clId="{D4F7D428-4D3F-4D7F-A708-D669671558DA}" dt="2021-03-14T18:48:20.370" v="14714"/>
          <ac:grpSpMkLst>
            <pc:docMk/>
            <pc:sldMk cId="1671744915" sldId="519"/>
            <ac:grpSpMk id="61" creationId="{51473AA6-9EEF-4AFB-B923-979B10FAFA16}"/>
          </ac:grpSpMkLst>
        </pc:grpChg>
        <pc:picChg chg="add del mod">
          <ac:chgData name="Lars Ivar Hatledal" userId="da83bdda-499a-4427-8775-f375be339a54" providerId="ADAL" clId="{D4F7D428-4D3F-4D7F-A708-D669671558DA}" dt="2021-03-13T17:16:14.484" v="6697" actId="478"/>
          <ac:picMkLst>
            <pc:docMk/>
            <pc:sldMk cId="1671744915" sldId="519"/>
            <ac:picMk id="2" creationId="{02F266BA-FB29-48A8-B04F-A0A50C77CB4D}"/>
          </ac:picMkLst>
        </pc:picChg>
        <pc:picChg chg="mod">
          <ac:chgData name="Lars Ivar Hatledal" userId="da83bdda-499a-4427-8775-f375be339a54" providerId="ADAL" clId="{D4F7D428-4D3F-4D7F-A708-D669671558DA}" dt="2021-03-14T16:27:41.264" v="11678" actId="1076"/>
          <ac:picMkLst>
            <pc:docMk/>
            <pc:sldMk cId="1671744915" sldId="519"/>
            <ac:picMk id="12294" creationId="{4C59A170-9E81-4FA0-BA6F-51B8CDACB46A}"/>
          </ac:picMkLst>
        </pc:picChg>
      </pc:sldChg>
      <pc:sldChg chg="addSp delSp modSp add mod modNotesTx">
        <pc:chgData name="Lars Ivar Hatledal" userId="da83bdda-499a-4427-8775-f375be339a54" providerId="ADAL" clId="{D4F7D428-4D3F-4D7F-A708-D669671558DA}" dt="2021-03-18T22:08:15.736" v="29280" actId="20577"/>
        <pc:sldMkLst>
          <pc:docMk/>
          <pc:sldMk cId="1815193164" sldId="520"/>
        </pc:sldMkLst>
        <pc:spChg chg="add mod">
          <ac:chgData name="Lars Ivar Hatledal" userId="da83bdda-499a-4427-8775-f375be339a54" providerId="ADAL" clId="{D4F7D428-4D3F-4D7F-A708-D669671558DA}" dt="2021-03-17T14:31:55.852" v="18180" actId="207"/>
          <ac:spMkLst>
            <pc:docMk/>
            <pc:sldMk cId="1815193164" sldId="520"/>
            <ac:spMk id="5" creationId="{3846429F-66CA-4B50-BAED-36ECC01D79DF}"/>
          </ac:spMkLst>
        </pc:spChg>
        <pc:spChg chg="del mod">
          <ac:chgData name="Lars Ivar Hatledal" userId="da83bdda-499a-4427-8775-f375be339a54" providerId="ADAL" clId="{D4F7D428-4D3F-4D7F-A708-D669671558DA}" dt="2021-03-13T15:14:00.538" v="5360" actId="478"/>
          <ac:spMkLst>
            <pc:docMk/>
            <pc:sldMk cId="1815193164" sldId="520"/>
            <ac:spMk id="24" creationId="{EA8F9227-DAE2-4987-AD75-3CECC1B5F7DB}"/>
          </ac:spMkLst>
        </pc:spChg>
        <pc:spChg chg="add mod">
          <ac:chgData name="Lars Ivar Hatledal" userId="da83bdda-499a-4427-8775-f375be339a54" providerId="ADAL" clId="{D4F7D428-4D3F-4D7F-A708-D669671558DA}" dt="2021-03-13T15:14:31.708" v="5364" actId="1076"/>
          <ac:spMkLst>
            <pc:docMk/>
            <pc:sldMk cId="1815193164" sldId="520"/>
            <ac:spMk id="47" creationId="{6FACE465-A401-42FE-8EE6-BAF2AB092CA8}"/>
          </ac:spMkLst>
        </pc:spChg>
        <pc:spChg chg="add mod">
          <ac:chgData name="Lars Ivar Hatledal" userId="da83bdda-499a-4427-8775-f375be339a54" providerId="ADAL" clId="{D4F7D428-4D3F-4D7F-A708-D669671558DA}" dt="2021-03-13T15:14:43.363" v="5367" actId="20577"/>
          <ac:spMkLst>
            <pc:docMk/>
            <pc:sldMk cId="1815193164" sldId="520"/>
            <ac:spMk id="48" creationId="{614B6063-F2D3-4AC4-8AE6-4B7769B13440}"/>
          </ac:spMkLst>
        </pc:spChg>
        <pc:spChg chg="mod">
          <ac:chgData name="Lars Ivar Hatledal" userId="da83bdda-499a-4427-8775-f375be339a54" providerId="ADAL" clId="{D4F7D428-4D3F-4D7F-A708-D669671558DA}" dt="2021-03-14T18:48:29" v="14718"/>
          <ac:spMkLst>
            <pc:docMk/>
            <pc:sldMk cId="1815193164" sldId="520"/>
            <ac:spMk id="53" creationId="{FE886EAA-53E4-4AE5-94B0-442EDB1D921B}"/>
          </ac:spMkLst>
        </pc:spChg>
        <pc:spChg chg="mod">
          <ac:chgData name="Lars Ivar Hatledal" userId="da83bdda-499a-4427-8775-f375be339a54" providerId="ADAL" clId="{D4F7D428-4D3F-4D7F-A708-D669671558DA}" dt="2021-03-14T18:48:29" v="14718"/>
          <ac:spMkLst>
            <pc:docMk/>
            <pc:sldMk cId="1815193164" sldId="520"/>
            <ac:spMk id="54" creationId="{36F9BD9F-1C49-4AD9-A6A9-1420D73F730F}"/>
          </ac:spMkLst>
        </pc:spChg>
        <pc:spChg chg="mod">
          <ac:chgData name="Lars Ivar Hatledal" userId="da83bdda-499a-4427-8775-f375be339a54" providerId="ADAL" clId="{D4F7D428-4D3F-4D7F-A708-D669671558DA}" dt="2021-03-14T18:48:29" v="14718"/>
          <ac:spMkLst>
            <pc:docMk/>
            <pc:sldMk cId="1815193164" sldId="520"/>
            <ac:spMk id="55" creationId="{B8A52D4E-4525-42C2-A114-EDF26A739714}"/>
          </ac:spMkLst>
        </pc:spChg>
        <pc:spChg chg="mod">
          <ac:chgData name="Lars Ivar Hatledal" userId="da83bdda-499a-4427-8775-f375be339a54" providerId="ADAL" clId="{D4F7D428-4D3F-4D7F-A708-D669671558DA}" dt="2021-03-14T18:48:29" v="14718"/>
          <ac:spMkLst>
            <pc:docMk/>
            <pc:sldMk cId="1815193164" sldId="520"/>
            <ac:spMk id="56" creationId="{C8163E0B-76C6-4232-AC3A-8C3751ADB9FD}"/>
          </ac:spMkLst>
        </pc:spChg>
        <pc:spChg chg="mod">
          <ac:chgData name="Lars Ivar Hatledal" userId="da83bdda-499a-4427-8775-f375be339a54" providerId="ADAL" clId="{D4F7D428-4D3F-4D7F-A708-D669671558DA}" dt="2021-03-14T18:48:29" v="14718"/>
          <ac:spMkLst>
            <pc:docMk/>
            <pc:sldMk cId="1815193164" sldId="520"/>
            <ac:spMk id="57" creationId="{DC327BF9-8429-486E-8D17-043B70C8757D}"/>
          </ac:spMkLst>
        </pc:spChg>
        <pc:spChg chg="mod">
          <ac:chgData name="Lars Ivar Hatledal" userId="da83bdda-499a-4427-8775-f375be339a54" providerId="ADAL" clId="{D4F7D428-4D3F-4D7F-A708-D669671558DA}" dt="2021-03-14T18:48:29" v="14718"/>
          <ac:spMkLst>
            <pc:docMk/>
            <pc:sldMk cId="1815193164" sldId="520"/>
            <ac:spMk id="58" creationId="{09E83CCD-C5EE-43CC-A226-74768D5F280F}"/>
          </ac:spMkLst>
        </pc:spChg>
        <pc:spChg chg="mod">
          <ac:chgData name="Lars Ivar Hatledal" userId="da83bdda-499a-4427-8775-f375be339a54" providerId="ADAL" clId="{D4F7D428-4D3F-4D7F-A708-D669671558DA}" dt="2021-03-14T18:48:29" v="14718"/>
          <ac:spMkLst>
            <pc:docMk/>
            <pc:sldMk cId="1815193164" sldId="520"/>
            <ac:spMk id="59" creationId="{CDA786FE-D22D-4ABE-85A8-72014BF19956}"/>
          </ac:spMkLst>
        </pc:spChg>
        <pc:spChg chg="mod">
          <ac:chgData name="Lars Ivar Hatledal" userId="da83bdda-499a-4427-8775-f375be339a54" providerId="ADAL" clId="{D4F7D428-4D3F-4D7F-A708-D669671558DA}" dt="2021-03-14T18:48:29" v="14718"/>
          <ac:spMkLst>
            <pc:docMk/>
            <pc:sldMk cId="1815193164" sldId="520"/>
            <ac:spMk id="60" creationId="{DEB17725-6CF9-4B37-83D1-067A6C06571E}"/>
          </ac:spMkLst>
        </pc:spChg>
        <pc:spChg chg="mod">
          <ac:chgData name="Lars Ivar Hatledal" userId="da83bdda-499a-4427-8775-f375be339a54" providerId="ADAL" clId="{D4F7D428-4D3F-4D7F-A708-D669671558DA}" dt="2021-03-14T18:48:29" v="14718"/>
          <ac:spMkLst>
            <pc:docMk/>
            <pc:sldMk cId="1815193164" sldId="520"/>
            <ac:spMk id="61" creationId="{D7E7CF63-E54C-4BEF-9671-338FB7391778}"/>
          </ac:spMkLst>
        </pc:spChg>
        <pc:spChg chg="mod">
          <ac:chgData name="Lars Ivar Hatledal" userId="da83bdda-499a-4427-8775-f375be339a54" providerId="ADAL" clId="{D4F7D428-4D3F-4D7F-A708-D669671558DA}" dt="2021-03-14T18:48:29" v="14718"/>
          <ac:spMkLst>
            <pc:docMk/>
            <pc:sldMk cId="1815193164" sldId="520"/>
            <ac:spMk id="62" creationId="{217CD5C5-8C1F-444F-9178-022979E1F749}"/>
          </ac:spMkLst>
        </pc:spChg>
        <pc:grpChg chg="del">
          <ac:chgData name="Lars Ivar Hatledal" userId="da83bdda-499a-4427-8775-f375be339a54" providerId="ADAL" clId="{D4F7D428-4D3F-4D7F-A708-D669671558DA}" dt="2021-03-14T18:48:28.480" v="14717" actId="478"/>
          <ac:grpSpMkLst>
            <pc:docMk/>
            <pc:sldMk cId="1815193164" sldId="520"/>
            <ac:grpSpMk id="25" creationId="{0F9B27B9-640B-4A52-AAF6-8A48C7C5619E}"/>
          </ac:grpSpMkLst>
        </pc:grpChg>
        <pc:grpChg chg="add mod">
          <ac:chgData name="Lars Ivar Hatledal" userId="da83bdda-499a-4427-8775-f375be339a54" providerId="ADAL" clId="{D4F7D428-4D3F-4D7F-A708-D669671558DA}" dt="2021-03-14T18:48:29" v="14718"/>
          <ac:grpSpMkLst>
            <pc:docMk/>
            <pc:sldMk cId="1815193164" sldId="520"/>
            <ac:grpSpMk id="43" creationId="{23E692BB-F0FE-4CFB-BA64-30B4DA8D1313}"/>
          </ac:grpSpMkLst>
        </pc:grpChg>
        <pc:grpChg chg="mod">
          <ac:chgData name="Lars Ivar Hatledal" userId="da83bdda-499a-4427-8775-f375be339a54" providerId="ADAL" clId="{D4F7D428-4D3F-4D7F-A708-D669671558DA}" dt="2021-03-14T18:48:29" v="14718"/>
          <ac:grpSpMkLst>
            <pc:docMk/>
            <pc:sldMk cId="1815193164" sldId="520"/>
            <ac:grpSpMk id="44" creationId="{CB4623CD-A455-4034-B481-C115D3C4F601}"/>
          </ac:grpSpMkLst>
        </pc:grpChg>
        <pc:grpChg chg="mod">
          <ac:chgData name="Lars Ivar Hatledal" userId="da83bdda-499a-4427-8775-f375be339a54" providerId="ADAL" clId="{D4F7D428-4D3F-4D7F-A708-D669671558DA}" dt="2021-03-14T18:48:29" v="14718"/>
          <ac:grpSpMkLst>
            <pc:docMk/>
            <pc:sldMk cId="1815193164" sldId="520"/>
            <ac:grpSpMk id="49" creationId="{D702DE16-83CF-435D-AEAE-A77F120E1A48}"/>
          </ac:grpSpMkLst>
        </pc:grpChg>
        <pc:grpChg chg="mod">
          <ac:chgData name="Lars Ivar Hatledal" userId="da83bdda-499a-4427-8775-f375be339a54" providerId="ADAL" clId="{D4F7D428-4D3F-4D7F-A708-D669671558DA}" dt="2021-03-14T18:48:29" v="14718"/>
          <ac:grpSpMkLst>
            <pc:docMk/>
            <pc:sldMk cId="1815193164" sldId="520"/>
            <ac:grpSpMk id="50" creationId="{AEA11C06-9383-4653-BC8F-5FC7B1B5D6CA}"/>
          </ac:grpSpMkLst>
        </pc:grpChg>
        <pc:grpChg chg="mod">
          <ac:chgData name="Lars Ivar Hatledal" userId="da83bdda-499a-4427-8775-f375be339a54" providerId="ADAL" clId="{D4F7D428-4D3F-4D7F-A708-D669671558DA}" dt="2021-03-14T18:48:29" v="14718"/>
          <ac:grpSpMkLst>
            <pc:docMk/>
            <pc:sldMk cId="1815193164" sldId="520"/>
            <ac:grpSpMk id="51" creationId="{3432A27E-AC3E-452B-8274-B45A2523CD01}"/>
          </ac:grpSpMkLst>
        </pc:grpChg>
        <pc:grpChg chg="mod">
          <ac:chgData name="Lars Ivar Hatledal" userId="da83bdda-499a-4427-8775-f375be339a54" providerId="ADAL" clId="{D4F7D428-4D3F-4D7F-A708-D669671558DA}" dt="2021-03-14T18:48:29" v="14718"/>
          <ac:grpSpMkLst>
            <pc:docMk/>
            <pc:sldMk cId="1815193164" sldId="520"/>
            <ac:grpSpMk id="52" creationId="{7DA48199-3F80-4935-A1EF-5E49169A616B}"/>
          </ac:grpSpMkLst>
        </pc:grpChg>
        <pc:picChg chg="del">
          <ac:chgData name="Lars Ivar Hatledal" userId="da83bdda-499a-4427-8775-f375be339a54" providerId="ADAL" clId="{D4F7D428-4D3F-4D7F-A708-D669671558DA}" dt="2021-03-13T15:13:55.998" v="5358" actId="478"/>
          <ac:picMkLst>
            <pc:docMk/>
            <pc:sldMk cId="1815193164" sldId="520"/>
            <ac:picMk id="43" creationId="{28966F7F-0384-4448-8D3B-AFBD8D3C62AE}"/>
          </ac:picMkLst>
        </pc:picChg>
        <pc:picChg chg="del">
          <ac:chgData name="Lars Ivar Hatledal" userId="da83bdda-499a-4427-8775-f375be339a54" providerId="ADAL" clId="{D4F7D428-4D3F-4D7F-A708-D669671558DA}" dt="2021-03-13T15:13:55.998" v="5358" actId="478"/>
          <ac:picMkLst>
            <pc:docMk/>
            <pc:sldMk cId="1815193164" sldId="520"/>
            <ac:picMk id="44" creationId="{91AE6796-D09F-4C09-BDA1-011BAFECF03E}"/>
          </ac:picMkLst>
        </pc:picChg>
        <pc:picChg chg="add mod">
          <ac:chgData name="Lars Ivar Hatledal" userId="da83bdda-499a-4427-8775-f375be339a54" providerId="ADAL" clId="{D4F7D428-4D3F-4D7F-A708-D669671558DA}" dt="2021-03-13T15:14:09.399" v="5362" actId="1076"/>
          <ac:picMkLst>
            <pc:docMk/>
            <pc:sldMk cId="1815193164" sldId="520"/>
            <ac:picMk id="45" creationId="{2499C2AF-B6CF-436A-83AC-633B8F623B38}"/>
          </ac:picMkLst>
        </pc:picChg>
        <pc:picChg chg="add mod">
          <ac:chgData name="Lars Ivar Hatledal" userId="da83bdda-499a-4427-8775-f375be339a54" providerId="ADAL" clId="{D4F7D428-4D3F-4D7F-A708-D669671558DA}" dt="2021-03-18T18:20:19.858" v="22573" actId="14100"/>
          <ac:picMkLst>
            <pc:docMk/>
            <pc:sldMk cId="1815193164" sldId="520"/>
            <ac:picMk id="46" creationId="{1B1DEA2F-2451-443E-AB78-BA25B9CF9654}"/>
          </ac:picMkLst>
        </pc:picChg>
        <pc:cxnChg chg="add del">
          <ac:chgData name="Lars Ivar Hatledal" userId="da83bdda-499a-4427-8775-f375be339a54" providerId="ADAL" clId="{D4F7D428-4D3F-4D7F-A708-D669671558DA}" dt="2021-03-17T14:31:29.666" v="18154" actId="478"/>
          <ac:cxnSpMkLst>
            <pc:docMk/>
            <pc:sldMk cId="1815193164" sldId="520"/>
            <ac:cxnSpMk id="4" creationId="{69F3B87E-535E-44B1-85B4-A8B435C6CBCE}"/>
          </ac:cxnSpMkLst>
        </pc:cxnChg>
        <pc:cxnChg chg="add mod">
          <ac:chgData name="Lars Ivar Hatledal" userId="da83bdda-499a-4427-8775-f375be339a54" providerId="ADAL" clId="{D4F7D428-4D3F-4D7F-A708-D669671558DA}" dt="2021-03-17T14:32:11.914" v="18182" actId="1076"/>
          <ac:cxnSpMkLst>
            <pc:docMk/>
            <pc:sldMk cId="1815193164" sldId="520"/>
            <ac:cxnSpMk id="7" creationId="{370323DE-F4C3-43E9-B3BE-F628FF33071C}"/>
          </ac:cxnSpMkLst>
        </pc:cxnChg>
      </pc:sldChg>
      <pc:sldChg chg="addSp delSp modSp add mod modNotesTx">
        <pc:chgData name="Lars Ivar Hatledal" userId="da83bdda-499a-4427-8775-f375be339a54" providerId="ADAL" clId="{D4F7D428-4D3F-4D7F-A708-D669671558DA}" dt="2021-03-18T22:08:49.951" v="29292" actId="20577"/>
        <pc:sldMkLst>
          <pc:docMk/>
          <pc:sldMk cId="3164644392" sldId="521"/>
        </pc:sldMkLst>
        <pc:spChg chg="add del mod">
          <ac:chgData name="Lars Ivar Hatledal" userId="da83bdda-499a-4427-8775-f375be339a54" providerId="ADAL" clId="{D4F7D428-4D3F-4D7F-A708-D669671558DA}" dt="2021-03-13T15:15:44.008" v="5370"/>
          <ac:spMkLst>
            <pc:docMk/>
            <pc:sldMk cId="3164644392" sldId="521"/>
            <ac:spMk id="3" creationId="{54D058A6-4A37-4135-B723-CD4944F59149}"/>
          </ac:spMkLst>
        </pc:spChg>
        <pc:spChg chg="add del mod">
          <ac:chgData name="Lars Ivar Hatledal" userId="da83bdda-499a-4427-8775-f375be339a54" providerId="ADAL" clId="{D4F7D428-4D3F-4D7F-A708-D669671558DA}" dt="2021-03-13T17:58:54.525" v="7597"/>
          <ac:spMkLst>
            <pc:docMk/>
            <pc:sldMk cId="3164644392" sldId="521"/>
            <ac:spMk id="5" creationId="{9FEE559E-57B1-43BD-9D1F-72054FA9DC0B}"/>
          </ac:spMkLst>
        </pc:spChg>
        <pc:spChg chg="mod">
          <ac:chgData name="Lars Ivar Hatledal" userId="da83bdda-499a-4427-8775-f375be339a54" providerId="ADAL" clId="{D4F7D428-4D3F-4D7F-A708-D669671558DA}" dt="2021-03-14T18:48:23.870" v="14716"/>
          <ac:spMkLst>
            <pc:docMk/>
            <pc:sldMk cId="3164644392" sldId="521"/>
            <ac:spMk id="47" creationId="{0F4193F6-23A1-4E41-9B1B-E4112653CC76}"/>
          </ac:spMkLst>
        </pc:spChg>
        <pc:spChg chg="del">
          <ac:chgData name="Lars Ivar Hatledal" userId="da83bdda-499a-4427-8775-f375be339a54" providerId="ADAL" clId="{D4F7D428-4D3F-4D7F-A708-D669671558DA}" dt="2021-03-13T15:15:42.728" v="5369" actId="478"/>
          <ac:spMkLst>
            <pc:docMk/>
            <pc:sldMk cId="3164644392" sldId="521"/>
            <ac:spMk id="47" creationId="{6FACE465-A401-42FE-8EE6-BAF2AB092CA8}"/>
          </ac:spMkLst>
        </pc:spChg>
        <pc:spChg chg="mod">
          <ac:chgData name="Lars Ivar Hatledal" userId="da83bdda-499a-4427-8775-f375be339a54" providerId="ADAL" clId="{D4F7D428-4D3F-4D7F-A708-D669671558DA}" dt="2021-03-14T18:48:23.870" v="14716"/>
          <ac:spMkLst>
            <pc:docMk/>
            <pc:sldMk cId="3164644392" sldId="521"/>
            <ac:spMk id="48" creationId="{08F6D827-E655-493C-A17D-043D0A41D984}"/>
          </ac:spMkLst>
        </pc:spChg>
        <pc:spChg chg="del">
          <ac:chgData name="Lars Ivar Hatledal" userId="da83bdda-499a-4427-8775-f375be339a54" providerId="ADAL" clId="{D4F7D428-4D3F-4D7F-A708-D669671558DA}" dt="2021-03-13T15:15:42.728" v="5369" actId="478"/>
          <ac:spMkLst>
            <pc:docMk/>
            <pc:sldMk cId="3164644392" sldId="521"/>
            <ac:spMk id="48" creationId="{614B6063-F2D3-4AC4-8AE6-4B7769B13440}"/>
          </ac:spMkLst>
        </pc:spChg>
        <pc:spChg chg="mod">
          <ac:chgData name="Lars Ivar Hatledal" userId="da83bdda-499a-4427-8775-f375be339a54" providerId="ADAL" clId="{D4F7D428-4D3F-4D7F-A708-D669671558DA}" dt="2021-03-14T18:48:23.870" v="14716"/>
          <ac:spMkLst>
            <pc:docMk/>
            <pc:sldMk cId="3164644392" sldId="521"/>
            <ac:spMk id="49" creationId="{C562B813-C2FF-41DD-A023-9F0ADE00384C}"/>
          </ac:spMkLst>
        </pc:spChg>
        <pc:spChg chg="mod">
          <ac:chgData name="Lars Ivar Hatledal" userId="da83bdda-499a-4427-8775-f375be339a54" providerId="ADAL" clId="{D4F7D428-4D3F-4D7F-A708-D669671558DA}" dt="2021-03-14T18:48:23.870" v="14716"/>
          <ac:spMkLst>
            <pc:docMk/>
            <pc:sldMk cId="3164644392" sldId="521"/>
            <ac:spMk id="50" creationId="{A9FB5808-F161-40A2-9564-9C70CE9786F0}"/>
          </ac:spMkLst>
        </pc:spChg>
        <pc:spChg chg="mod">
          <ac:chgData name="Lars Ivar Hatledal" userId="da83bdda-499a-4427-8775-f375be339a54" providerId="ADAL" clId="{D4F7D428-4D3F-4D7F-A708-D669671558DA}" dt="2021-03-14T18:48:23.870" v="14716"/>
          <ac:spMkLst>
            <pc:docMk/>
            <pc:sldMk cId="3164644392" sldId="521"/>
            <ac:spMk id="51" creationId="{ABE2DF74-0FFE-461A-9D11-DDB16A7DBA30}"/>
          </ac:spMkLst>
        </pc:spChg>
        <pc:spChg chg="mod">
          <ac:chgData name="Lars Ivar Hatledal" userId="da83bdda-499a-4427-8775-f375be339a54" providerId="ADAL" clId="{D4F7D428-4D3F-4D7F-A708-D669671558DA}" dt="2021-03-14T18:48:23.870" v="14716"/>
          <ac:spMkLst>
            <pc:docMk/>
            <pc:sldMk cId="3164644392" sldId="521"/>
            <ac:spMk id="52" creationId="{07358442-24D7-4762-8AB2-993F6C1048A1}"/>
          </ac:spMkLst>
        </pc:spChg>
        <pc:spChg chg="mod">
          <ac:chgData name="Lars Ivar Hatledal" userId="da83bdda-499a-4427-8775-f375be339a54" providerId="ADAL" clId="{D4F7D428-4D3F-4D7F-A708-D669671558DA}" dt="2021-03-14T18:48:23.870" v="14716"/>
          <ac:spMkLst>
            <pc:docMk/>
            <pc:sldMk cId="3164644392" sldId="521"/>
            <ac:spMk id="53" creationId="{3C696965-4D31-4542-BC07-267883B4C489}"/>
          </ac:spMkLst>
        </pc:spChg>
        <pc:spChg chg="mod">
          <ac:chgData name="Lars Ivar Hatledal" userId="da83bdda-499a-4427-8775-f375be339a54" providerId="ADAL" clId="{D4F7D428-4D3F-4D7F-A708-D669671558DA}" dt="2021-03-14T18:48:23.870" v="14716"/>
          <ac:spMkLst>
            <pc:docMk/>
            <pc:sldMk cId="3164644392" sldId="521"/>
            <ac:spMk id="54" creationId="{4340B784-1521-4D6F-A559-FEC08AC53524}"/>
          </ac:spMkLst>
        </pc:spChg>
        <pc:spChg chg="mod">
          <ac:chgData name="Lars Ivar Hatledal" userId="da83bdda-499a-4427-8775-f375be339a54" providerId="ADAL" clId="{D4F7D428-4D3F-4D7F-A708-D669671558DA}" dt="2021-03-14T18:48:23.870" v="14716"/>
          <ac:spMkLst>
            <pc:docMk/>
            <pc:sldMk cId="3164644392" sldId="521"/>
            <ac:spMk id="55" creationId="{11F1652B-11D4-4B28-A00A-B7E800315751}"/>
          </ac:spMkLst>
        </pc:spChg>
        <pc:spChg chg="mod">
          <ac:chgData name="Lars Ivar Hatledal" userId="da83bdda-499a-4427-8775-f375be339a54" providerId="ADAL" clId="{D4F7D428-4D3F-4D7F-A708-D669671558DA}" dt="2021-03-14T18:48:23.870" v="14716"/>
          <ac:spMkLst>
            <pc:docMk/>
            <pc:sldMk cId="3164644392" sldId="521"/>
            <ac:spMk id="56" creationId="{DC4F1348-8F5C-47F3-BD0F-57223CD2BA3E}"/>
          </ac:spMkLst>
        </pc:spChg>
        <pc:grpChg chg="add mod">
          <ac:chgData name="Lars Ivar Hatledal" userId="da83bdda-499a-4427-8775-f375be339a54" providerId="ADAL" clId="{D4F7D428-4D3F-4D7F-A708-D669671558DA}" dt="2021-03-14T18:48:23.870" v="14716"/>
          <ac:grpSpMkLst>
            <pc:docMk/>
            <pc:sldMk cId="3164644392" sldId="521"/>
            <ac:grpSpMk id="23" creationId="{967022C4-FB90-47BC-8B7F-0AAC97A18B3B}"/>
          </ac:grpSpMkLst>
        </pc:grpChg>
        <pc:grpChg chg="mod">
          <ac:chgData name="Lars Ivar Hatledal" userId="da83bdda-499a-4427-8775-f375be339a54" providerId="ADAL" clId="{D4F7D428-4D3F-4D7F-A708-D669671558DA}" dt="2021-03-14T18:48:23.870" v="14716"/>
          <ac:grpSpMkLst>
            <pc:docMk/>
            <pc:sldMk cId="3164644392" sldId="521"/>
            <ac:grpSpMk id="24" creationId="{A35C544F-0598-4725-8B41-54D7939D3B5D}"/>
          </ac:grpSpMkLst>
        </pc:grpChg>
        <pc:grpChg chg="del">
          <ac:chgData name="Lars Ivar Hatledal" userId="da83bdda-499a-4427-8775-f375be339a54" providerId="ADAL" clId="{D4F7D428-4D3F-4D7F-A708-D669671558DA}" dt="2021-03-14T18:48:23.542" v="14715" actId="478"/>
          <ac:grpSpMkLst>
            <pc:docMk/>
            <pc:sldMk cId="3164644392" sldId="521"/>
            <ac:grpSpMk id="25" creationId="{0F9B27B9-640B-4A52-AAF6-8A48C7C5619E}"/>
          </ac:grpSpMkLst>
        </pc:grpChg>
        <pc:grpChg chg="mod">
          <ac:chgData name="Lars Ivar Hatledal" userId="da83bdda-499a-4427-8775-f375be339a54" providerId="ADAL" clId="{D4F7D428-4D3F-4D7F-A708-D669671558DA}" dt="2021-03-14T18:48:23.870" v="14716"/>
          <ac:grpSpMkLst>
            <pc:docMk/>
            <pc:sldMk cId="3164644392" sldId="521"/>
            <ac:grpSpMk id="43" creationId="{4AE0DD82-B8A5-48A2-842C-8C8C2FBAA440}"/>
          </ac:grpSpMkLst>
        </pc:grpChg>
        <pc:grpChg chg="mod">
          <ac:chgData name="Lars Ivar Hatledal" userId="da83bdda-499a-4427-8775-f375be339a54" providerId="ADAL" clId="{D4F7D428-4D3F-4D7F-A708-D669671558DA}" dt="2021-03-14T18:48:23.870" v="14716"/>
          <ac:grpSpMkLst>
            <pc:docMk/>
            <pc:sldMk cId="3164644392" sldId="521"/>
            <ac:grpSpMk id="44" creationId="{FC5A26A9-EEF2-4E67-8FDF-B8F034529ED7}"/>
          </ac:grpSpMkLst>
        </pc:grpChg>
        <pc:grpChg chg="mod">
          <ac:chgData name="Lars Ivar Hatledal" userId="da83bdda-499a-4427-8775-f375be339a54" providerId="ADAL" clId="{D4F7D428-4D3F-4D7F-A708-D669671558DA}" dt="2021-03-14T18:48:23.870" v="14716"/>
          <ac:grpSpMkLst>
            <pc:docMk/>
            <pc:sldMk cId="3164644392" sldId="521"/>
            <ac:grpSpMk id="45" creationId="{DA169641-09BD-4642-B220-BFD6A4B19E30}"/>
          </ac:grpSpMkLst>
        </pc:grpChg>
        <pc:grpChg chg="mod">
          <ac:chgData name="Lars Ivar Hatledal" userId="da83bdda-499a-4427-8775-f375be339a54" providerId="ADAL" clId="{D4F7D428-4D3F-4D7F-A708-D669671558DA}" dt="2021-03-14T18:48:23.870" v="14716"/>
          <ac:grpSpMkLst>
            <pc:docMk/>
            <pc:sldMk cId="3164644392" sldId="521"/>
            <ac:grpSpMk id="46" creationId="{1D70400D-7D5A-46C4-A1DF-E406AA7517DB}"/>
          </ac:grpSpMkLst>
        </pc:grpChg>
        <pc:picChg chg="add mod">
          <ac:chgData name="Lars Ivar Hatledal" userId="da83bdda-499a-4427-8775-f375be339a54" providerId="ADAL" clId="{D4F7D428-4D3F-4D7F-A708-D669671558DA}" dt="2021-03-13T17:58:59.035" v="7598" actId="14100"/>
          <ac:picMkLst>
            <pc:docMk/>
            <pc:sldMk cId="3164644392" sldId="521"/>
            <ac:picMk id="6" creationId="{C861ADAA-F980-46F1-B2EC-3211409FC10D}"/>
          </ac:picMkLst>
        </pc:picChg>
        <pc:picChg chg="add del mod">
          <ac:chgData name="Lars Ivar Hatledal" userId="da83bdda-499a-4427-8775-f375be339a54" providerId="ADAL" clId="{D4F7D428-4D3F-4D7F-A708-D669671558DA}" dt="2021-03-13T17:58:52.635" v="7596" actId="478"/>
          <ac:picMkLst>
            <pc:docMk/>
            <pc:sldMk cId="3164644392" sldId="521"/>
            <ac:picMk id="43" creationId="{94F5D008-2E47-4824-8B33-A0E5FF41731F}"/>
          </ac:picMkLst>
        </pc:picChg>
        <pc:picChg chg="del">
          <ac:chgData name="Lars Ivar Hatledal" userId="da83bdda-499a-4427-8775-f375be339a54" providerId="ADAL" clId="{D4F7D428-4D3F-4D7F-A708-D669671558DA}" dt="2021-03-13T15:15:42.728" v="5369" actId="478"/>
          <ac:picMkLst>
            <pc:docMk/>
            <pc:sldMk cId="3164644392" sldId="521"/>
            <ac:picMk id="45" creationId="{2499C2AF-B6CF-436A-83AC-633B8F623B38}"/>
          </ac:picMkLst>
        </pc:picChg>
        <pc:picChg chg="del">
          <ac:chgData name="Lars Ivar Hatledal" userId="da83bdda-499a-4427-8775-f375be339a54" providerId="ADAL" clId="{D4F7D428-4D3F-4D7F-A708-D669671558DA}" dt="2021-03-13T15:15:42.728" v="5369" actId="478"/>
          <ac:picMkLst>
            <pc:docMk/>
            <pc:sldMk cId="3164644392" sldId="521"/>
            <ac:picMk id="46" creationId="{1B1DEA2F-2451-443E-AB78-BA25B9CF9654}"/>
          </ac:picMkLst>
        </pc:picChg>
      </pc:sldChg>
      <pc:sldChg chg="modSp add mod">
        <pc:chgData name="Lars Ivar Hatledal" userId="da83bdda-499a-4427-8775-f375be339a54" providerId="ADAL" clId="{D4F7D428-4D3F-4D7F-A708-D669671558DA}" dt="2021-03-13T15:21:48.226" v="5427" actId="20577"/>
        <pc:sldMkLst>
          <pc:docMk/>
          <pc:sldMk cId="1287895440" sldId="522"/>
        </pc:sldMkLst>
        <pc:spChg chg="mod">
          <ac:chgData name="Lars Ivar Hatledal" userId="da83bdda-499a-4427-8775-f375be339a54" providerId="ADAL" clId="{D4F7D428-4D3F-4D7F-A708-D669671558DA}" dt="2021-03-13T15:21:48.226" v="5427" actId="20577"/>
          <ac:spMkLst>
            <pc:docMk/>
            <pc:sldMk cId="1287895440" sldId="522"/>
            <ac:spMk id="2" creationId="{57C985A2-298E-43A5-B711-7C93BF8365C9}"/>
          </ac:spMkLst>
        </pc:spChg>
      </pc:sldChg>
      <pc:sldChg chg="new">
        <pc:chgData name="Lars Ivar Hatledal" userId="da83bdda-499a-4427-8775-f375be339a54" providerId="ADAL" clId="{D4F7D428-4D3F-4D7F-A708-D669671558DA}" dt="2021-03-13T15:21:54.065" v="5428" actId="680"/>
        <pc:sldMkLst>
          <pc:docMk/>
          <pc:sldMk cId="2661568086" sldId="523"/>
        </pc:sldMkLst>
      </pc:sldChg>
      <pc:sldChg chg="modSp new mod ord">
        <pc:chgData name="Lars Ivar Hatledal" userId="da83bdda-499a-4427-8775-f375be339a54" providerId="ADAL" clId="{D4F7D428-4D3F-4D7F-A708-D669671558DA}" dt="2021-03-18T22:12:39.731" v="29501"/>
        <pc:sldMkLst>
          <pc:docMk/>
          <pc:sldMk cId="459986806" sldId="524"/>
        </pc:sldMkLst>
        <pc:spChg chg="mod">
          <ac:chgData name="Lars Ivar Hatledal" userId="da83bdda-499a-4427-8775-f375be339a54" providerId="ADAL" clId="{D4F7D428-4D3F-4D7F-A708-D669671558DA}" dt="2021-03-13T16:16:44.966" v="6460" actId="20577"/>
          <ac:spMkLst>
            <pc:docMk/>
            <pc:sldMk cId="459986806" sldId="524"/>
            <ac:spMk id="2" creationId="{C9BC32A7-47D7-40B8-95B8-0FDD211EEFAB}"/>
          </ac:spMkLst>
        </pc:spChg>
        <pc:spChg chg="mod">
          <ac:chgData name="Lars Ivar Hatledal" userId="da83bdda-499a-4427-8775-f375be339a54" providerId="ADAL" clId="{D4F7D428-4D3F-4D7F-A708-D669671558DA}" dt="2021-03-13T16:18:52.798" v="6540"/>
          <ac:spMkLst>
            <pc:docMk/>
            <pc:sldMk cId="459986806" sldId="524"/>
            <ac:spMk id="3" creationId="{B77235A0-32DD-4800-BC1C-5811115AB739}"/>
          </ac:spMkLst>
        </pc:spChg>
      </pc:sldChg>
      <pc:sldChg chg="addSp delSp modSp add del mod">
        <pc:chgData name="Lars Ivar Hatledal" userId="da83bdda-499a-4427-8775-f375be339a54" providerId="ADAL" clId="{D4F7D428-4D3F-4D7F-A708-D669671558DA}" dt="2021-03-14T18:18:22.769" v="13965" actId="47"/>
        <pc:sldMkLst>
          <pc:docMk/>
          <pc:sldMk cId="3557561816" sldId="525"/>
        </pc:sldMkLst>
        <pc:spChg chg="mod">
          <ac:chgData name="Lars Ivar Hatledal" userId="da83bdda-499a-4427-8775-f375be339a54" providerId="ADAL" clId="{D4F7D428-4D3F-4D7F-A708-D669671558DA}" dt="2021-03-14T18:11:50.403" v="13586" actId="20577"/>
          <ac:spMkLst>
            <pc:docMk/>
            <pc:sldMk cId="3557561816" sldId="525"/>
            <ac:spMk id="7" creationId="{63991A79-2DF5-4987-8986-F8B6237BF2C9}"/>
          </ac:spMkLst>
        </pc:spChg>
        <pc:spChg chg="mod">
          <ac:chgData name="Lars Ivar Hatledal" userId="da83bdda-499a-4427-8775-f375be339a54" providerId="ADAL" clId="{D4F7D428-4D3F-4D7F-A708-D669671558DA}" dt="2021-03-14T18:04:25.898" v="13466" actId="20577"/>
          <ac:spMkLst>
            <pc:docMk/>
            <pc:sldMk cId="3557561816" sldId="525"/>
            <ac:spMk id="45" creationId="{ABE05CC7-87A9-4E18-AEA7-3CFE48FBF726}"/>
          </ac:spMkLst>
        </pc:spChg>
        <pc:graphicFrameChg chg="add del mod">
          <ac:chgData name="Lars Ivar Hatledal" userId="da83bdda-499a-4427-8775-f375be339a54" providerId="ADAL" clId="{D4F7D428-4D3F-4D7F-A708-D669671558DA}" dt="2021-03-14T17:51:12.475" v="13142" actId="478"/>
          <ac:graphicFrameMkLst>
            <pc:docMk/>
            <pc:sldMk cId="3557561816" sldId="525"/>
            <ac:graphicFrameMk id="23" creationId="{499A7299-2B36-4D27-B561-1923EFC1BFDA}"/>
          </ac:graphicFrameMkLst>
        </pc:graphicFrameChg>
        <pc:picChg chg="add mod">
          <ac:chgData name="Lars Ivar Hatledal" userId="da83bdda-499a-4427-8775-f375be339a54" providerId="ADAL" clId="{D4F7D428-4D3F-4D7F-A708-D669671558DA}" dt="2021-03-14T17:52:01.787" v="13145" actId="1076"/>
          <ac:picMkLst>
            <pc:docMk/>
            <pc:sldMk cId="3557561816" sldId="525"/>
            <ac:picMk id="3" creationId="{0D8334CA-D89F-4A1A-ABAF-EE542032460B}"/>
          </ac:picMkLst>
        </pc:picChg>
      </pc:sldChg>
      <pc:sldChg chg="addSp delSp modSp add mod modNotesTx">
        <pc:chgData name="Lars Ivar Hatledal" userId="da83bdda-499a-4427-8775-f375be339a54" providerId="ADAL" clId="{D4F7D428-4D3F-4D7F-A708-D669671558DA}" dt="2021-03-18T22:11:34.498" v="29499" actId="20577"/>
        <pc:sldMkLst>
          <pc:docMk/>
          <pc:sldMk cId="818789249" sldId="526"/>
        </pc:sldMkLst>
        <pc:picChg chg="del mod">
          <ac:chgData name="Lars Ivar Hatledal" userId="da83bdda-499a-4427-8775-f375be339a54" providerId="ADAL" clId="{D4F7D428-4D3F-4D7F-A708-D669671558DA}" dt="2021-03-13T17:16:25.723" v="6703" actId="21"/>
          <ac:picMkLst>
            <pc:docMk/>
            <pc:sldMk cId="818789249" sldId="526"/>
            <ac:picMk id="2" creationId="{02F266BA-FB29-48A8-B04F-A0A50C77CB4D}"/>
          </ac:picMkLst>
        </pc:picChg>
        <pc:picChg chg="add mod">
          <ac:chgData name="Lars Ivar Hatledal" userId="da83bdda-499a-4427-8775-f375be339a54" providerId="ADAL" clId="{D4F7D428-4D3F-4D7F-A708-D669671558DA}" dt="2021-03-15T17:18:19.465" v="15024" actId="14100"/>
          <ac:picMkLst>
            <pc:docMk/>
            <pc:sldMk cId="818789249" sldId="526"/>
            <ac:picMk id="2" creationId="{BCED89BC-C927-4764-B0A1-93DBCEF91039}"/>
          </ac:picMkLst>
        </pc:picChg>
        <pc:picChg chg="add mod">
          <ac:chgData name="Lars Ivar Hatledal" userId="da83bdda-499a-4427-8775-f375be339a54" providerId="ADAL" clId="{D4F7D428-4D3F-4D7F-A708-D669671558DA}" dt="2021-03-15T17:18:46.205" v="15026" actId="1076"/>
          <ac:picMkLst>
            <pc:docMk/>
            <pc:sldMk cId="818789249" sldId="526"/>
            <ac:picMk id="3" creationId="{1000E189-F023-434C-91D9-2AF429D962AE}"/>
          </ac:picMkLst>
        </pc:picChg>
        <pc:picChg chg="add del">
          <ac:chgData name="Lars Ivar Hatledal" userId="da83bdda-499a-4427-8775-f375be339a54" providerId="ADAL" clId="{D4F7D428-4D3F-4D7F-A708-D669671558DA}" dt="2021-03-13T17:19:19.413" v="6709" actId="478"/>
          <ac:picMkLst>
            <pc:docMk/>
            <pc:sldMk cId="818789249" sldId="526"/>
            <ac:picMk id="3" creationId="{46F3DFF6-63C9-403B-97E3-A819D5EA2BB6}"/>
          </ac:picMkLst>
        </pc:picChg>
        <pc:picChg chg="add del mod">
          <ac:chgData name="Lars Ivar Hatledal" userId="da83bdda-499a-4427-8775-f375be339a54" providerId="ADAL" clId="{D4F7D428-4D3F-4D7F-A708-D669671558DA}" dt="2021-03-15T17:18:08.515" v="15020" actId="478"/>
          <ac:picMkLst>
            <pc:docMk/>
            <pc:sldMk cId="818789249" sldId="526"/>
            <ac:picMk id="43" creationId="{38E628DF-93C7-493E-BC08-0B291E24BC9B}"/>
          </ac:picMkLst>
        </pc:picChg>
        <pc:picChg chg="del">
          <ac:chgData name="Lars Ivar Hatledal" userId="da83bdda-499a-4427-8775-f375be339a54" providerId="ADAL" clId="{D4F7D428-4D3F-4D7F-A708-D669671558DA}" dt="2021-03-13T17:16:20.753" v="6700" actId="478"/>
          <ac:picMkLst>
            <pc:docMk/>
            <pc:sldMk cId="818789249" sldId="526"/>
            <ac:picMk id="12294" creationId="{4C59A170-9E81-4FA0-BA6F-51B8CDACB46A}"/>
          </ac:picMkLst>
        </pc:picChg>
      </pc:sldChg>
      <pc:sldChg chg="addSp delSp modSp add mod modNotesTx">
        <pc:chgData name="Lars Ivar Hatledal" userId="da83bdda-499a-4427-8775-f375be339a54" providerId="ADAL" clId="{D4F7D428-4D3F-4D7F-A708-D669671558DA}" dt="2021-03-18T21:14:21.087" v="26610" actId="20577"/>
        <pc:sldMkLst>
          <pc:docMk/>
          <pc:sldMk cId="2908066437" sldId="527"/>
        </pc:sldMkLst>
        <pc:spChg chg="add del mod ord">
          <ac:chgData name="Lars Ivar Hatledal" userId="da83bdda-499a-4427-8775-f375be339a54" providerId="ADAL" clId="{D4F7D428-4D3F-4D7F-A708-D669671558DA}" dt="2021-03-13T17:32:42.700" v="6946" actId="478"/>
          <ac:spMkLst>
            <pc:docMk/>
            <pc:sldMk cId="2908066437" sldId="527"/>
            <ac:spMk id="2" creationId="{21AE8073-7262-4243-B21B-87E090929B1A}"/>
          </ac:spMkLst>
        </pc:spChg>
        <pc:spChg chg="mod">
          <ac:chgData name="Lars Ivar Hatledal" userId="da83bdda-499a-4427-8775-f375be339a54" providerId="ADAL" clId="{D4F7D428-4D3F-4D7F-A708-D669671558DA}" dt="2021-03-14T15:30:47.688" v="10094" actId="20577"/>
          <ac:spMkLst>
            <pc:docMk/>
            <pc:sldMk cId="2908066437" sldId="527"/>
            <ac:spMk id="28" creationId="{48703A56-96F6-4216-B29F-75E1A68FEBED}"/>
          </ac:spMkLst>
        </pc:spChg>
        <pc:spChg chg="mod">
          <ac:chgData name="Lars Ivar Hatledal" userId="da83bdda-499a-4427-8775-f375be339a54" providerId="ADAL" clId="{D4F7D428-4D3F-4D7F-A708-D669671558DA}" dt="2021-03-14T18:48:09.041" v="14708"/>
          <ac:spMkLst>
            <pc:docMk/>
            <pc:sldMk cId="2908066437" sldId="527"/>
            <ac:spMk id="48" creationId="{478BA934-7D3C-45CD-BD80-6BB767E336C4}"/>
          </ac:spMkLst>
        </pc:spChg>
        <pc:spChg chg="mod">
          <ac:chgData name="Lars Ivar Hatledal" userId="da83bdda-499a-4427-8775-f375be339a54" providerId="ADAL" clId="{D4F7D428-4D3F-4D7F-A708-D669671558DA}" dt="2021-03-14T18:48:09.041" v="14708"/>
          <ac:spMkLst>
            <pc:docMk/>
            <pc:sldMk cId="2908066437" sldId="527"/>
            <ac:spMk id="49" creationId="{97EF0421-F77F-40AF-9D76-1201A7C3F38C}"/>
          </ac:spMkLst>
        </pc:spChg>
        <pc:spChg chg="mod">
          <ac:chgData name="Lars Ivar Hatledal" userId="da83bdda-499a-4427-8775-f375be339a54" providerId="ADAL" clId="{D4F7D428-4D3F-4D7F-A708-D669671558DA}" dt="2021-03-14T18:48:09.041" v="14708"/>
          <ac:spMkLst>
            <pc:docMk/>
            <pc:sldMk cId="2908066437" sldId="527"/>
            <ac:spMk id="50" creationId="{FCC3103D-C02C-472C-8E47-E73E831DD7A0}"/>
          </ac:spMkLst>
        </pc:spChg>
        <pc:spChg chg="mod">
          <ac:chgData name="Lars Ivar Hatledal" userId="da83bdda-499a-4427-8775-f375be339a54" providerId="ADAL" clId="{D4F7D428-4D3F-4D7F-A708-D669671558DA}" dt="2021-03-14T18:48:09.041" v="14708"/>
          <ac:spMkLst>
            <pc:docMk/>
            <pc:sldMk cId="2908066437" sldId="527"/>
            <ac:spMk id="51" creationId="{3EF5D166-1A16-416F-9379-FC14A900E7B7}"/>
          </ac:spMkLst>
        </pc:spChg>
        <pc:spChg chg="mod">
          <ac:chgData name="Lars Ivar Hatledal" userId="da83bdda-499a-4427-8775-f375be339a54" providerId="ADAL" clId="{D4F7D428-4D3F-4D7F-A708-D669671558DA}" dt="2021-03-14T18:48:09.041" v="14708"/>
          <ac:spMkLst>
            <pc:docMk/>
            <pc:sldMk cId="2908066437" sldId="527"/>
            <ac:spMk id="52" creationId="{4611BFED-5CDE-4326-9592-2961F830EDDC}"/>
          </ac:spMkLst>
        </pc:spChg>
        <pc:spChg chg="mod">
          <ac:chgData name="Lars Ivar Hatledal" userId="da83bdda-499a-4427-8775-f375be339a54" providerId="ADAL" clId="{D4F7D428-4D3F-4D7F-A708-D669671558DA}" dt="2021-03-14T18:48:09.041" v="14708"/>
          <ac:spMkLst>
            <pc:docMk/>
            <pc:sldMk cId="2908066437" sldId="527"/>
            <ac:spMk id="53" creationId="{379495CC-9925-4EDA-9E95-99A37E232791}"/>
          </ac:spMkLst>
        </pc:spChg>
        <pc:spChg chg="mod">
          <ac:chgData name="Lars Ivar Hatledal" userId="da83bdda-499a-4427-8775-f375be339a54" providerId="ADAL" clId="{D4F7D428-4D3F-4D7F-A708-D669671558DA}" dt="2021-03-14T18:48:09.041" v="14708"/>
          <ac:spMkLst>
            <pc:docMk/>
            <pc:sldMk cId="2908066437" sldId="527"/>
            <ac:spMk id="54" creationId="{BD603B85-B67A-40C4-91B4-44D5D4A9D875}"/>
          </ac:spMkLst>
        </pc:spChg>
        <pc:spChg chg="mod">
          <ac:chgData name="Lars Ivar Hatledal" userId="da83bdda-499a-4427-8775-f375be339a54" providerId="ADAL" clId="{D4F7D428-4D3F-4D7F-A708-D669671558DA}" dt="2021-03-14T18:48:09.041" v="14708"/>
          <ac:spMkLst>
            <pc:docMk/>
            <pc:sldMk cId="2908066437" sldId="527"/>
            <ac:spMk id="55" creationId="{82AF71F9-D957-4461-953B-05831E0ED44E}"/>
          </ac:spMkLst>
        </pc:spChg>
        <pc:spChg chg="mod">
          <ac:chgData name="Lars Ivar Hatledal" userId="da83bdda-499a-4427-8775-f375be339a54" providerId="ADAL" clId="{D4F7D428-4D3F-4D7F-A708-D669671558DA}" dt="2021-03-14T18:48:09.041" v="14708"/>
          <ac:spMkLst>
            <pc:docMk/>
            <pc:sldMk cId="2908066437" sldId="527"/>
            <ac:spMk id="56" creationId="{868BB762-6937-4514-AECE-0A72E679300E}"/>
          </ac:spMkLst>
        </pc:spChg>
        <pc:spChg chg="mod">
          <ac:chgData name="Lars Ivar Hatledal" userId="da83bdda-499a-4427-8775-f375be339a54" providerId="ADAL" clId="{D4F7D428-4D3F-4D7F-A708-D669671558DA}" dt="2021-03-14T18:48:09.041" v="14708"/>
          <ac:spMkLst>
            <pc:docMk/>
            <pc:sldMk cId="2908066437" sldId="527"/>
            <ac:spMk id="57" creationId="{016978FB-58AE-41F2-B4BF-61999BCABC87}"/>
          </ac:spMkLst>
        </pc:spChg>
        <pc:grpChg chg="add mod">
          <ac:chgData name="Lars Ivar Hatledal" userId="da83bdda-499a-4427-8775-f375be339a54" providerId="ADAL" clId="{D4F7D428-4D3F-4D7F-A708-D669671558DA}" dt="2021-03-14T18:48:09.041" v="14708"/>
          <ac:grpSpMkLst>
            <pc:docMk/>
            <pc:sldMk cId="2908066437" sldId="527"/>
            <ac:grpSpMk id="24" creationId="{BC49AFCC-100E-495C-9A64-7429F79DB140}"/>
          </ac:grpSpMkLst>
        </pc:grpChg>
        <pc:grpChg chg="del">
          <ac:chgData name="Lars Ivar Hatledal" userId="da83bdda-499a-4427-8775-f375be339a54" providerId="ADAL" clId="{D4F7D428-4D3F-4D7F-A708-D669671558DA}" dt="2021-03-14T18:48:08.790" v="14707" actId="478"/>
          <ac:grpSpMkLst>
            <pc:docMk/>
            <pc:sldMk cId="2908066437" sldId="527"/>
            <ac:grpSpMk id="25" creationId="{0F9B27B9-640B-4A52-AAF6-8A48C7C5619E}"/>
          </ac:grpSpMkLst>
        </pc:grpChg>
        <pc:grpChg chg="mod">
          <ac:chgData name="Lars Ivar Hatledal" userId="da83bdda-499a-4427-8775-f375be339a54" providerId="ADAL" clId="{D4F7D428-4D3F-4D7F-A708-D669671558DA}" dt="2021-03-14T18:48:09.041" v="14708"/>
          <ac:grpSpMkLst>
            <pc:docMk/>
            <pc:sldMk cId="2908066437" sldId="527"/>
            <ac:grpSpMk id="43" creationId="{AA0F12A3-A8F7-4484-9A76-955EE6B351B1}"/>
          </ac:grpSpMkLst>
        </pc:grpChg>
        <pc:grpChg chg="mod">
          <ac:chgData name="Lars Ivar Hatledal" userId="da83bdda-499a-4427-8775-f375be339a54" providerId="ADAL" clId="{D4F7D428-4D3F-4D7F-A708-D669671558DA}" dt="2021-03-14T18:48:09.041" v="14708"/>
          <ac:grpSpMkLst>
            <pc:docMk/>
            <pc:sldMk cId="2908066437" sldId="527"/>
            <ac:grpSpMk id="44" creationId="{5BE73797-DD57-4710-A61E-FF2AA74F5B6A}"/>
          </ac:grpSpMkLst>
        </pc:grpChg>
        <pc:grpChg chg="mod">
          <ac:chgData name="Lars Ivar Hatledal" userId="da83bdda-499a-4427-8775-f375be339a54" providerId="ADAL" clId="{D4F7D428-4D3F-4D7F-A708-D669671558DA}" dt="2021-03-14T18:48:09.041" v="14708"/>
          <ac:grpSpMkLst>
            <pc:docMk/>
            <pc:sldMk cId="2908066437" sldId="527"/>
            <ac:grpSpMk id="45" creationId="{2F8D44B6-A00C-4336-A6E9-0CF99E7F8416}"/>
          </ac:grpSpMkLst>
        </pc:grpChg>
        <pc:grpChg chg="mod">
          <ac:chgData name="Lars Ivar Hatledal" userId="da83bdda-499a-4427-8775-f375be339a54" providerId="ADAL" clId="{D4F7D428-4D3F-4D7F-A708-D669671558DA}" dt="2021-03-14T18:48:09.041" v="14708"/>
          <ac:grpSpMkLst>
            <pc:docMk/>
            <pc:sldMk cId="2908066437" sldId="527"/>
            <ac:grpSpMk id="46" creationId="{5FB8A86C-301E-4601-A4F7-46B25B8EB507}"/>
          </ac:grpSpMkLst>
        </pc:grpChg>
        <pc:grpChg chg="mod">
          <ac:chgData name="Lars Ivar Hatledal" userId="da83bdda-499a-4427-8775-f375be339a54" providerId="ADAL" clId="{D4F7D428-4D3F-4D7F-A708-D669671558DA}" dt="2021-03-14T18:48:09.041" v="14708"/>
          <ac:grpSpMkLst>
            <pc:docMk/>
            <pc:sldMk cId="2908066437" sldId="527"/>
            <ac:grpSpMk id="47" creationId="{E839A07C-C2E7-472D-9B04-CAAF8F29F206}"/>
          </ac:grpSpMkLst>
        </pc:grpChg>
        <pc:picChg chg="mod">
          <ac:chgData name="Lars Ivar Hatledal" userId="da83bdda-499a-4427-8775-f375be339a54" providerId="ADAL" clId="{D4F7D428-4D3F-4D7F-A708-D669671558DA}" dt="2021-03-13T17:19:33.933" v="6716" actId="1076"/>
          <ac:picMkLst>
            <pc:docMk/>
            <pc:sldMk cId="2908066437" sldId="527"/>
            <ac:picMk id="3" creationId="{46F3DFF6-63C9-403B-97E3-A819D5EA2BB6}"/>
          </ac:picMkLst>
        </pc:picChg>
        <pc:picChg chg="del">
          <ac:chgData name="Lars Ivar Hatledal" userId="da83bdda-499a-4427-8775-f375be339a54" providerId="ADAL" clId="{D4F7D428-4D3F-4D7F-A708-D669671558DA}" dt="2021-03-13T17:19:25.023" v="6711" actId="478"/>
          <ac:picMkLst>
            <pc:docMk/>
            <pc:sldMk cId="2908066437" sldId="527"/>
            <ac:picMk id="43" creationId="{38E628DF-93C7-493E-BC08-0B291E24BC9B}"/>
          </ac:picMkLst>
        </pc:picChg>
      </pc:sldChg>
      <pc:sldChg chg="new del">
        <pc:chgData name="Lars Ivar Hatledal" userId="da83bdda-499a-4427-8775-f375be339a54" providerId="ADAL" clId="{D4F7D428-4D3F-4D7F-A708-D669671558DA}" dt="2021-03-13T17:25:18.761" v="6927" actId="47"/>
        <pc:sldMkLst>
          <pc:docMk/>
          <pc:sldMk cId="235592870" sldId="528"/>
        </pc:sldMkLst>
      </pc:sldChg>
      <pc:sldChg chg="addSp delSp modSp add mod modNotesTx">
        <pc:chgData name="Lars Ivar Hatledal" userId="da83bdda-499a-4427-8775-f375be339a54" providerId="ADAL" clId="{D4F7D428-4D3F-4D7F-A708-D669671558DA}" dt="2021-03-18T20:56:32.078" v="26551" actId="20577"/>
        <pc:sldMkLst>
          <pc:docMk/>
          <pc:sldMk cId="3620096238" sldId="529"/>
        </pc:sldMkLst>
        <pc:spChg chg="mod">
          <ac:chgData name="Lars Ivar Hatledal" userId="da83bdda-499a-4427-8775-f375be339a54" providerId="ADAL" clId="{D4F7D428-4D3F-4D7F-A708-D669671558DA}" dt="2021-03-17T14:33:53.606" v="18191" actId="403"/>
          <ac:spMkLst>
            <pc:docMk/>
            <pc:sldMk cId="3620096238" sldId="529"/>
            <ac:spMk id="7" creationId="{63991A79-2DF5-4987-8986-F8B6237BF2C9}"/>
          </ac:spMkLst>
        </pc:spChg>
        <pc:spChg chg="mod">
          <ac:chgData name="Lars Ivar Hatledal" userId="da83bdda-499a-4427-8775-f375be339a54" providerId="ADAL" clId="{D4F7D428-4D3F-4D7F-A708-D669671558DA}" dt="2021-03-18T19:26:42.838" v="23581" actId="207"/>
          <ac:spMkLst>
            <pc:docMk/>
            <pc:sldMk cId="3620096238" sldId="529"/>
            <ac:spMk id="45" creationId="{ABE05CC7-87A9-4E18-AEA7-3CFE48FBF726}"/>
          </ac:spMkLst>
        </pc:spChg>
        <pc:graphicFrameChg chg="del mod">
          <ac:chgData name="Lars Ivar Hatledal" userId="da83bdda-499a-4427-8775-f375be339a54" providerId="ADAL" clId="{D4F7D428-4D3F-4D7F-A708-D669671558DA}" dt="2021-03-14T15:57:46.013" v="10959" actId="478"/>
          <ac:graphicFrameMkLst>
            <pc:docMk/>
            <pc:sldMk cId="3620096238" sldId="529"/>
            <ac:graphicFrameMk id="3" creationId="{C8EC85E8-FD67-4340-95E1-8189A139709B}"/>
          </ac:graphicFrameMkLst>
        </pc:graphicFrameChg>
        <pc:picChg chg="del">
          <ac:chgData name="Lars Ivar Hatledal" userId="da83bdda-499a-4427-8775-f375be339a54" providerId="ADAL" clId="{D4F7D428-4D3F-4D7F-A708-D669671558DA}" dt="2021-03-14T15:57:45.323" v="10958" actId="478"/>
          <ac:picMkLst>
            <pc:docMk/>
            <pc:sldMk cId="3620096238" sldId="529"/>
            <ac:picMk id="5" creationId="{74526315-8F5F-4068-B4DD-1CCC6B57D27C}"/>
          </ac:picMkLst>
        </pc:picChg>
        <pc:picChg chg="add mod">
          <ac:chgData name="Lars Ivar Hatledal" userId="da83bdda-499a-4427-8775-f375be339a54" providerId="ADAL" clId="{D4F7D428-4D3F-4D7F-A708-D669671558DA}" dt="2021-03-14T16:59:15.875" v="12388" actId="962"/>
          <ac:picMkLst>
            <pc:docMk/>
            <pc:sldMk cId="3620096238" sldId="529"/>
            <ac:picMk id="12293" creationId="{9799D8A1-E00F-4EC9-A6FC-004EE29B1C27}"/>
          </ac:picMkLst>
        </pc:picChg>
      </pc:sldChg>
      <pc:sldChg chg="addSp delSp modSp add mod modNotesTx">
        <pc:chgData name="Lars Ivar Hatledal" userId="da83bdda-499a-4427-8775-f375be339a54" providerId="ADAL" clId="{D4F7D428-4D3F-4D7F-A708-D669671558DA}" dt="2021-03-15T17:21:18.375" v="15095" actId="14100"/>
        <pc:sldMkLst>
          <pc:docMk/>
          <pc:sldMk cId="819150806" sldId="530"/>
        </pc:sldMkLst>
        <pc:spChg chg="mod ord">
          <ac:chgData name="Lars Ivar Hatledal" userId="da83bdda-499a-4427-8775-f375be339a54" providerId="ADAL" clId="{D4F7D428-4D3F-4D7F-A708-D669671558DA}" dt="2021-03-13T18:07:44.443" v="7648" actId="1076"/>
          <ac:spMkLst>
            <pc:docMk/>
            <pc:sldMk cId="819150806" sldId="530"/>
            <ac:spMk id="2" creationId="{21AE8073-7262-4243-B21B-87E090929B1A}"/>
          </ac:spMkLst>
        </pc:spChg>
        <pc:spChg chg="add mod">
          <ac:chgData name="Lars Ivar Hatledal" userId="da83bdda-499a-4427-8775-f375be339a54" providerId="ADAL" clId="{D4F7D428-4D3F-4D7F-A708-D669671558DA}" dt="2021-03-15T17:21:08.955" v="15080" actId="1076"/>
          <ac:spMkLst>
            <pc:docMk/>
            <pc:sldMk cId="819150806" sldId="530"/>
            <ac:spMk id="12" creationId="{B37CFCAA-6D2F-416A-8517-52FF7DED3E98}"/>
          </ac:spMkLst>
        </pc:spChg>
        <pc:spChg chg="mod">
          <ac:chgData name="Lars Ivar Hatledal" userId="da83bdda-499a-4427-8775-f375be339a54" providerId="ADAL" clId="{D4F7D428-4D3F-4D7F-A708-D669671558DA}" dt="2021-03-15T17:20:02.864" v="15073" actId="20577"/>
          <ac:spMkLst>
            <pc:docMk/>
            <pc:sldMk cId="819150806" sldId="530"/>
            <ac:spMk id="28" creationId="{48703A56-96F6-4216-B29F-75E1A68FEBED}"/>
          </ac:spMkLst>
        </pc:spChg>
        <pc:spChg chg="mod">
          <ac:chgData name="Lars Ivar Hatledal" userId="da83bdda-499a-4427-8775-f375be339a54" providerId="ADAL" clId="{D4F7D428-4D3F-4D7F-A708-D669671558DA}" dt="2021-03-14T18:47:57.890" v="14702"/>
          <ac:spMkLst>
            <pc:docMk/>
            <pc:sldMk cId="819150806" sldId="530"/>
            <ac:spMk id="49" creationId="{E94898F7-5D8C-498C-8E82-E3F6AF67ACC2}"/>
          </ac:spMkLst>
        </pc:spChg>
        <pc:spChg chg="mod">
          <ac:chgData name="Lars Ivar Hatledal" userId="da83bdda-499a-4427-8775-f375be339a54" providerId="ADAL" clId="{D4F7D428-4D3F-4D7F-A708-D669671558DA}" dt="2021-03-14T18:47:57.890" v="14702"/>
          <ac:spMkLst>
            <pc:docMk/>
            <pc:sldMk cId="819150806" sldId="530"/>
            <ac:spMk id="50" creationId="{30227318-961F-4181-84CA-77A49A579344}"/>
          </ac:spMkLst>
        </pc:spChg>
        <pc:spChg chg="mod">
          <ac:chgData name="Lars Ivar Hatledal" userId="da83bdda-499a-4427-8775-f375be339a54" providerId="ADAL" clId="{D4F7D428-4D3F-4D7F-A708-D669671558DA}" dt="2021-03-14T18:47:57.890" v="14702"/>
          <ac:spMkLst>
            <pc:docMk/>
            <pc:sldMk cId="819150806" sldId="530"/>
            <ac:spMk id="51" creationId="{9B3F0C5D-5258-4515-979A-76E194FF6D82}"/>
          </ac:spMkLst>
        </pc:spChg>
        <pc:spChg chg="mod">
          <ac:chgData name="Lars Ivar Hatledal" userId="da83bdda-499a-4427-8775-f375be339a54" providerId="ADAL" clId="{D4F7D428-4D3F-4D7F-A708-D669671558DA}" dt="2021-03-14T18:47:57.890" v="14702"/>
          <ac:spMkLst>
            <pc:docMk/>
            <pc:sldMk cId="819150806" sldId="530"/>
            <ac:spMk id="52" creationId="{D77417E7-BF3E-4658-8810-FB654EC17AEF}"/>
          </ac:spMkLst>
        </pc:spChg>
        <pc:spChg chg="mod">
          <ac:chgData name="Lars Ivar Hatledal" userId="da83bdda-499a-4427-8775-f375be339a54" providerId="ADAL" clId="{D4F7D428-4D3F-4D7F-A708-D669671558DA}" dt="2021-03-14T18:47:57.890" v="14702"/>
          <ac:spMkLst>
            <pc:docMk/>
            <pc:sldMk cId="819150806" sldId="530"/>
            <ac:spMk id="53" creationId="{761CAE67-2691-428A-B403-3759F783C240}"/>
          </ac:spMkLst>
        </pc:spChg>
        <pc:spChg chg="mod">
          <ac:chgData name="Lars Ivar Hatledal" userId="da83bdda-499a-4427-8775-f375be339a54" providerId="ADAL" clId="{D4F7D428-4D3F-4D7F-A708-D669671558DA}" dt="2021-03-14T18:47:57.890" v="14702"/>
          <ac:spMkLst>
            <pc:docMk/>
            <pc:sldMk cId="819150806" sldId="530"/>
            <ac:spMk id="54" creationId="{E9C58EF6-D597-486F-99F3-089A1B23BB9C}"/>
          </ac:spMkLst>
        </pc:spChg>
        <pc:spChg chg="mod">
          <ac:chgData name="Lars Ivar Hatledal" userId="da83bdda-499a-4427-8775-f375be339a54" providerId="ADAL" clId="{D4F7D428-4D3F-4D7F-A708-D669671558DA}" dt="2021-03-14T18:47:57.890" v="14702"/>
          <ac:spMkLst>
            <pc:docMk/>
            <pc:sldMk cId="819150806" sldId="530"/>
            <ac:spMk id="55" creationId="{CB574FA3-34F9-416F-8B75-43959BCFE3BD}"/>
          </ac:spMkLst>
        </pc:spChg>
        <pc:spChg chg="mod">
          <ac:chgData name="Lars Ivar Hatledal" userId="da83bdda-499a-4427-8775-f375be339a54" providerId="ADAL" clId="{D4F7D428-4D3F-4D7F-A708-D669671558DA}" dt="2021-03-14T18:47:57.890" v="14702"/>
          <ac:spMkLst>
            <pc:docMk/>
            <pc:sldMk cId="819150806" sldId="530"/>
            <ac:spMk id="56" creationId="{9C24A89C-A54C-4D44-8D39-10E05825BC66}"/>
          </ac:spMkLst>
        </pc:spChg>
        <pc:spChg chg="mod">
          <ac:chgData name="Lars Ivar Hatledal" userId="da83bdda-499a-4427-8775-f375be339a54" providerId="ADAL" clId="{D4F7D428-4D3F-4D7F-A708-D669671558DA}" dt="2021-03-14T18:47:57.890" v="14702"/>
          <ac:spMkLst>
            <pc:docMk/>
            <pc:sldMk cId="819150806" sldId="530"/>
            <ac:spMk id="57" creationId="{602EDE3B-5785-4CAB-87C8-6DF6F846BDA9}"/>
          </ac:spMkLst>
        </pc:spChg>
        <pc:spChg chg="mod">
          <ac:chgData name="Lars Ivar Hatledal" userId="da83bdda-499a-4427-8775-f375be339a54" providerId="ADAL" clId="{D4F7D428-4D3F-4D7F-A708-D669671558DA}" dt="2021-03-14T18:47:57.890" v="14702"/>
          <ac:spMkLst>
            <pc:docMk/>
            <pc:sldMk cId="819150806" sldId="530"/>
            <ac:spMk id="58" creationId="{C7B54D88-B146-4727-95F0-2BD460A85542}"/>
          </ac:spMkLst>
        </pc:spChg>
        <pc:grpChg chg="del">
          <ac:chgData name="Lars Ivar Hatledal" userId="da83bdda-499a-4427-8775-f375be339a54" providerId="ADAL" clId="{D4F7D428-4D3F-4D7F-A708-D669671558DA}" dt="2021-03-14T18:47:57.550" v="14701" actId="478"/>
          <ac:grpSpMkLst>
            <pc:docMk/>
            <pc:sldMk cId="819150806" sldId="530"/>
            <ac:grpSpMk id="25" creationId="{0F9B27B9-640B-4A52-AAF6-8A48C7C5619E}"/>
          </ac:grpSpMkLst>
        </pc:grpChg>
        <pc:grpChg chg="add mod">
          <ac:chgData name="Lars Ivar Hatledal" userId="da83bdda-499a-4427-8775-f375be339a54" providerId="ADAL" clId="{D4F7D428-4D3F-4D7F-A708-D669671558DA}" dt="2021-03-14T18:47:57.890" v="14702"/>
          <ac:grpSpMkLst>
            <pc:docMk/>
            <pc:sldMk cId="819150806" sldId="530"/>
            <ac:grpSpMk id="43" creationId="{C85D4D22-27AB-4793-9836-E585988D06AC}"/>
          </ac:grpSpMkLst>
        </pc:grpChg>
        <pc:grpChg chg="mod">
          <ac:chgData name="Lars Ivar Hatledal" userId="da83bdda-499a-4427-8775-f375be339a54" providerId="ADAL" clId="{D4F7D428-4D3F-4D7F-A708-D669671558DA}" dt="2021-03-14T18:47:57.890" v="14702"/>
          <ac:grpSpMkLst>
            <pc:docMk/>
            <pc:sldMk cId="819150806" sldId="530"/>
            <ac:grpSpMk id="44" creationId="{DBB6C848-C37C-4CE1-8E4A-51B330CAF4DC}"/>
          </ac:grpSpMkLst>
        </pc:grpChg>
        <pc:grpChg chg="mod">
          <ac:chgData name="Lars Ivar Hatledal" userId="da83bdda-499a-4427-8775-f375be339a54" providerId="ADAL" clId="{D4F7D428-4D3F-4D7F-A708-D669671558DA}" dt="2021-03-14T18:47:57.890" v="14702"/>
          <ac:grpSpMkLst>
            <pc:docMk/>
            <pc:sldMk cId="819150806" sldId="530"/>
            <ac:grpSpMk id="45" creationId="{40F28FFF-A084-4F47-B060-630DD4F4FCD7}"/>
          </ac:grpSpMkLst>
        </pc:grpChg>
        <pc:grpChg chg="mod">
          <ac:chgData name="Lars Ivar Hatledal" userId="da83bdda-499a-4427-8775-f375be339a54" providerId="ADAL" clId="{D4F7D428-4D3F-4D7F-A708-D669671558DA}" dt="2021-03-14T18:47:57.890" v="14702"/>
          <ac:grpSpMkLst>
            <pc:docMk/>
            <pc:sldMk cId="819150806" sldId="530"/>
            <ac:grpSpMk id="46" creationId="{FAE67001-BE6B-41BD-97FE-66E63B48C302}"/>
          </ac:grpSpMkLst>
        </pc:grpChg>
        <pc:grpChg chg="mod">
          <ac:chgData name="Lars Ivar Hatledal" userId="da83bdda-499a-4427-8775-f375be339a54" providerId="ADAL" clId="{D4F7D428-4D3F-4D7F-A708-D669671558DA}" dt="2021-03-14T18:47:57.890" v="14702"/>
          <ac:grpSpMkLst>
            <pc:docMk/>
            <pc:sldMk cId="819150806" sldId="530"/>
            <ac:grpSpMk id="47" creationId="{14582032-E9F7-4B57-A723-6C0F94876D5B}"/>
          </ac:grpSpMkLst>
        </pc:grpChg>
        <pc:grpChg chg="mod">
          <ac:chgData name="Lars Ivar Hatledal" userId="da83bdda-499a-4427-8775-f375be339a54" providerId="ADAL" clId="{D4F7D428-4D3F-4D7F-A708-D669671558DA}" dt="2021-03-14T18:47:57.890" v="14702"/>
          <ac:grpSpMkLst>
            <pc:docMk/>
            <pc:sldMk cId="819150806" sldId="530"/>
            <ac:grpSpMk id="48" creationId="{3E8C2AC2-0006-4647-8ECC-ED21AFADA121}"/>
          </ac:grpSpMkLst>
        </pc:grpChg>
        <pc:picChg chg="mod">
          <ac:chgData name="Lars Ivar Hatledal" userId="da83bdda-499a-4427-8775-f375be339a54" providerId="ADAL" clId="{D4F7D428-4D3F-4D7F-A708-D669671558DA}" dt="2021-03-13T18:07:44.443" v="7648" actId="1076"/>
          <ac:picMkLst>
            <pc:docMk/>
            <pc:sldMk cId="819150806" sldId="530"/>
            <ac:picMk id="3" creationId="{46F3DFF6-63C9-403B-97E3-A819D5EA2BB6}"/>
          </ac:picMkLst>
        </pc:picChg>
        <pc:picChg chg="add mod">
          <ac:chgData name="Lars Ivar Hatledal" userId="da83bdda-499a-4427-8775-f375be339a54" providerId="ADAL" clId="{D4F7D428-4D3F-4D7F-A708-D669671558DA}" dt="2021-03-13T18:07:44.443" v="7648" actId="1076"/>
          <ac:picMkLst>
            <pc:docMk/>
            <pc:sldMk cId="819150806" sldId="530"/>
            <ac:picMk id="4" creationId="{5024AB13-4894-44D5-9309-0480C8594EE0}"/>
          </ac:picMkLst>
        </pc:picChg>
        <pc:picChg chg="add del mod">
          <ac:chgData name="Lars Ivar Hatledal" userId="da83bdda-499a-4427-8775-f375be339a54" providerId="ADAL" clId="{D4F7D428-4D3F-4D7F-A708-D669671558DA}" dt="2021-03-13T18:09:26.352" v="7657" actId="478"/>
          <ac:picMkLst>
            <pc:docMk/>
            <pc:sldMk cId="819150806" sldId="530"/>
            <ac:picMk id="5" creationId="{53DA9598-67D2-4E3F-86BA-0D5A0C798EF4}"/>
          </ac:picMkLst>
        </pc:picChg>
        <pc:picChg chg="add mod">
          <ac:chgData name="Lars Ivar Hatledal" userId="da83bdda-499a-4427-8775-f375be339a54" providerId="ADAL" clId="{D4F7D428-4D3F-4D7F-A708-D669671558DA}" dt="2021-03-15T17:21:18.375" v="15095" actId="14100"/>
          <ac:picMkLst>
            <pc:docMk/>
            <pc:sldMk cId="819150806" sldId="530"/>
            <ac:picMk id="6" creationId="{A14CD208-F810-4608-ABA7-29B6699CE8E7}"/>
          </ac:picMkLst>
        </pc:picChg>
        <pc:picChg chg="add mod">
          <ac:chgData name="Lars Ivar Hatledal" userId="da83bdda-499a-4427-8775-f375be339a54" providerId="ADAL" clId="{D4F7D428-4D3F-4D7F-A708-D669671558DA}" dt="2021-03-15T17:21:14.014" v="15094" actId="1035"/>
          <ac:picMkLst>
            <pc:docMk/>
            <pc:sldMk cId="819150806" sldId="530"/>
            <ac:picMk id="7" creationId="{8DF003E8-D13B-42C4-B9DE-218A98605714}"/>
          </ac:picMkLst>
        </pc:picChg>
        <pc:cxnChg chg="add del mod">
          <ac:chgData name="Lars Ivar Hatledal" userId="da83bdda-499a-4427-8775-f375be339a54" providerId="ADAL" clId="{D4F7D428-4D3F-4D7F-A708-D669671558DA}" dt="2021-03-15T17:20:50.504" v="15077" actId="478"/>
          <ac:cxnSpMkLst>
            <pc:docMk/>
            <pc:sldMk cId="819150806" sldId="530"/>
            <ac:cxnSpMk id="8" creationId="{B12AB73F-982F-4307-8FB8-365EE1B8BC3D}"/>
          </ac:cxnSpMkLst>
        </pc:cxnChg>
        <pc:cxnChg chg="add del mod">
          <ac:chgData name="Lars Ivar Hatledal" userId="da83bdda-499a-4427-8775-f375be339a54" providerId="ADAL" clId="{D4F7D428-4D3F-4D7F-A708-D669671558DA}" dt="2021-03-15T17:20:47.694" v="15076" actId="478"/>
          <ac:cxnSpMkLst>
            <pc:docMk/>
            <pc:sldMk cId="819150806" sldId="530"/>
            <ac:cxnSpMk id="10" creationId="{86C3D455-676A-4717-A532-F33998334B62}"/>
          </ac:cxnSpMkLst>
        </pc:cxnChg>
      </pc:sldChg>
      <pc:sldChg chg="addSp delSp modSp add mod ord">
        <pc:chgData name="Lars Ivar Hatledal" userId="da83bdda-499a-4427-8775-f375be339a54" providerId="ADAL" clId="{D4F7D428-4D3F-4D7F-A708-D669671558DA}" dt="2021-03-18T20:13:11.996" v="25908"/>
        <pc:sldMkLst>
          <pc:docMk/>
          <pc:sldMk cId="467438431" sldId="531"/>
        </pc:sldMkLst>
        <pc:spChg chg="del">
          <ac:chgData name="Lars Ivar Hatledal" userId="da83bdda-499a-4427-8775-f375be339a54" providerId="ADAL" clId="{D4F7D428-4D3F-4D7F-A708-D669671558DA}" dt="2021-03-13T17:48:43.166" v="7383" actId="478"/>
          <ac:spMkLst>
            <pc:docMk/>
            <pc:sldMk cId="467438431" sldId="531"/>
            <ac:spMk id="2" creationId="{21AE8073-7262-4243-B21B-87E090929B1A}"/>
          </ac:spMkLst>
        </pc:spChg>
        <pc:spChg chg="mod">
          <ac:chgData name="Lars Ivar Hatledal" userId="da83bdda-499a-4427-8775-f375be339a54" providerId="ADAL" clId="{D4F7D428-4D3F-4D7F-A708-D669671558DA}" dt="2021-03-14T15:37:50.950" v="10155" actId="11"/>
          <ac:spMkLst>
            <pc:docMk/>
            <pc:sldMk cId="467438431" sldId="531"/>
            <ac:spMk id="23" creationId="{FB028DC4-029B-407D-8F6B-C523579AFE54}"/>
          </ac:spMkLst>
        </pc:spChg>
        <pc:spChg chg="mod">
          <ac:chgData name="Lars Ivar Hatledal" userId="da83bdda-499a-4427-8775-f375be339a54" providerId="ADAL" clId="{D4F7D428-4D3F-4D7F-A708-D669671558DA}" dt="2021-03-14T18:48:02.710" v="14704"/>
          <ac:spMkLst>
            <pc:docMk/>
            <pc:sldMk cId="467438431" sldId="531"/>
            <ac:spMk id="48" creationId="{6D02FD3C-38A6-4E21-ACFB-8C4FC1F3ABC6}"/>
          </ac:spMkLst>
        </pc:spChg>
        <pc:spChg chg="mod">
          <ac:chgData name="Lars Ivar Hatledal" userId="da83bdda-499a-4427-8775-f375be339a54" providerId="ADAL" clId="{D4F7D428-4D3F-4D7F-A708-D669671558DA}" dt="2021-03-14T18:48:02.710" v="14704"/>
          <ac:spMkLst>
            <pc:docMk/>
            <pc:sldMk cId="467438431" sldId="531"/>
            <ac:spMk id="49" creationId="{CBACA6B5-3154-4D90-B5F3-87F5E92565CD}"/>
          </ac:spMkLst>
        </pc:spChg>
        <pc:spChg chg="mod">
          <ac:chgData name="Lars Ivar Hatledal" userId="da83bdda-499a-4427-8775-f375be339a54" providerId="ADAL" clId="{D4F7D428-4D3F-4D7F-A708-D669671558DA}" dt="2021-03-14T18:48:02.710" v="14704"/>
          <ac:spMkLst>
            <pc:docMk/>
            <pc:sldMk cId="467438431" sldId="531"/>
            <ac:spMk id="50" creationId="{BA8F1D3F-6CA4-4CE8-B5B1-FA407D1F2991}"/>
          </ac:spMkLst>
        </pc:spChg>
        <pc:spChg chg="mod">
          <ac:chgData name="Lars Ivar Hatledal" userId="da83bdda-499a-4427-8775-f375be339a54" providerId="ADAL" clId="{D4F7D428-4D3F-4D7F-A708-D669671558DA}" dt="2021-03-14T18:48:02.710" v="14704"/>
          <ac:spMkLst>
            <pc:docMk/>
            <pc:sldMk cId="467438431" sldId="531"/>
            <ac:spMk id="51" creationId="{ACC47798-E476-423F-A553-80407DF7F786}"/>
          </ac:spMkLst>
        </pc:spChg>
        <pc:spChg chg="mod">
          <ac:chgData name="Lars Ivar Hatledal" userId="da83bdda-499a-4427-8775-f375be339a54" providerId="ADAL" clId="{D4F7D428-4D3F-4D7F-A708-D669671558DA}" dt="2021-03-14T18:48:02.710" v="14704"/>
          <ac:spMkLst>
            <pc:docMk/>
            <pc:sldMk cId="467438431" sldId="531"/>
            <ac:spMk id="52" creationId="{DF69A39A-A3E2-42E4-8AE8-6FF36DE38D1C}"/>
          </ac:spMkLst>
        </pc:spChg>
        <pc:spChg chg="mod">
          <ac:chgData name="Lars Ivar Hatledal" userId="da83bdda-499a-4427-8775-f375be339a54" providerId="ADAL" clId="{D4F7D428-4D3F-4D7F-A708-D669671558DA}" dt="2021-03-14T18:48:02.710" v="14704"/>
          <ac:spMkLst>
            <pc:docMk/>
            <pc:sldMk cId="467438431" sldId="531"/>
            <ac:spMk id="53" creationId="{D547BBAC-6BCE-4F7E-B603-6C4DF6EC7634}"/>
          </ac:spMkLst>
        </pc:spChg>
        <pc:spChg chg="mod">
          <ac:chgData name="Lars Ivar Hatledal" userId="da83bdda-499a-4427-8775-f375be339a54" providerId="ADAL" clId="{D4F7D428-4D3F-4D7F-A708-D669671558DA}" dt="2021-03-14T18:48:02.710" v="14704"/>
          <ac:spMkLst>
            <pc:docMk/>
            <pc:sldMk cId="467438431" sldId="531"/>
            <ac:spMk id="54" creationId="{5E03900E-07E1-4BB0-9A0F-1FBFCDD81F97}"/>
          </ac:spMkLst>
        </pc:spChg>
        <pc:spChg chg="mod">
          <ac:chgData name="Lars Ivar Hatledal" userId="da83bdda-499a-4427-8775-f375be339a54" providerId="ADAL" clId="{D4F7D428-4D3F-4D7F-A708-D669671558DA}" dt="2021-03-14T18:48:02.710" v="14704"/>
          <ac:spMkLst>
            <pc:docMk/>
            <pc:sldMk cId="467438431" sldId="531"/>
            <ac:spMk id="55" creationId="{5A704CD8-932A-4EBF-A1F3-83D9F38EB311}"/>
          </ac:spMkLst>
        </pc:spChg>
        <pc:spChg chg="mod">
          <ac:chgData name="Lars Ivar Hatledal" userId="da83bdda-499a-4427-8775-f375be339a54" providerId="ADAL" clId="{D4F7D428-4D3F-4D7F-A708-D669671558DA}" dt="2021-03-14T18:48:02.710" v="14704"/>
          <ac:spMkLst>
            <pc:docMk/>
            <pc:sldMk cId="467438431" sldId="531"/>
            <ac:spMk id="56" creationId="{4E3250E4-8D65-49B9-B8E4-649F0769E8A8}"/>
          </ac:spMkLst>
        </pc:spChg>
        <pc:spChg chg="mod">
          <ac:chgData name="Lars Ivar Hatledal" userId="da83bdda-499a-4427-8775-f375be339a54" providerId="ADAL" clId="{D4F7D428-4D3F-4D7F-A708-D669671558DA}" dt="2021-03-14T18:48:02.710" v="14704"/>
          <ac:spMkLst>
            <pc:docMk/>
            <pc:sldMk cId="467438431" sldId="531"/>
            <ac:spMk id="57" creationId="{9DEC175D-5320-4610-95C3-FDD66EF2B73E}"/>
          </ac:spMkLst>
        </pc:spChg>
        <pc:grpChg chg="add mod">
          <ac:chgData name="Lars Ivar Hatledal" userId="da83bdda-499a-4427-8775-f375be339a54" providerId="ADAL" clId="{D4F7D428-4D3F-4D7F-A708-D669671558DA}" dt="2021-03-14T18:48:02.710" v="14704"/>
          <ac:grpSpMkLst>
            <pc:docMk/>
            <pc:sldMk cId="467438431" sldId="531"/>
            <ac:grpSpMk id="24" creationId="{241E2B91-82C6-4B02-AFA9-AF463668F1C8}"/>
          </ac:grpSpMkLst>
        </pc:grpChg>
        <pc:grpChg chg="del">
          <ac:chgData name="Lars Ivar Hatledal" userId="da83bdda-499a-4427-8775-f375be339a54" providerId="ADAL" clId="{D4F7D428-4D3F-4D7F-A708-D669671558DA}" dt="2021-03-14T18:48:02.410" v="14703" actId="478"/>
          <ac:grpSpMkLst>
            <pc:docMk/>
            <pc:sldMk cId="467438431" sldId="531"/>
            <ac:grpSpMk id="25" creationId="{0F9B27B9-640B-4A52-AAF6-8A48C7C5619E}"/>
          </ac:grpSpMkLst>
        </pc:grpChg>
        <pc:grpChg chg="mod">
          <ac:chgData name="Lars Ivar Hatledal" userId="da83bdda-499a-4427-8775-f375be339a54" providerId="ADAL" clId="{D4F7D428-4D3F-4D7F-A708-D669671558DA}" dt="2021-03-14T18:48:02.710" v="14704"/>
          <ac:grpSpMkLst>
            <pc:docMk/>
            <pc:sldMk cId="467438431" sldId="531"/>
            <ac:grpSpMk id="43" creationId="{F53C717C-53B5-4944-B9A7-3B91C53327D2}"/>
          </ac:grpSpMkLst>
        </pc:grpChg>
        <pc:grpChg chg="mod">
          <ac:chgData name="Lars Ivar Hatledal" userId="da83bdda-499a-4427-8775-f375be339a54" providerId="ADAL" clId="{D4F7D428-4D3F-4D7F-A708-D669671558DA}" dt="2021-03-14T18:48:02.710" v="14704"/>
          <ac:grpSpMkLst>
            <pc:docMk/>
            <pc:sldMk cId="467438431" sldId="531"/>
            <ac:grpSpMk id="44" creationId="{F3A48E60-9A6F-4513-AB0C-6B36A97963F6}"/>
          </ac:grpSpMkLst>
        </pc:grpChg>
        <pc:grpChg chg="mod">
          <ac:chgData name="Lars Ivar Hatledal" userId="da83bdda-499a-4427-8775-f375be339a54" providerId="ADAL" clId="{D4F7D428-4D3F-4D7F-A708-D669671558DA}" dt="2021-03-14T18:48:02.710" v="14704"/>
          <ac:grpSpMkLst>
            <pc:docMk/>
            <pc:sldMk cId="467438431" sldId="531"/>
            <ac:grpSpMk id="45" creationId="{3567F806-D69A-416E-9B55-FC8D983E1C35}"/>
          </ac:grpSpMkLst>
        </pc:grpChg>
        <pc:grpChg chg="mod">
          <ac:chgData name="Lars Ivar Hatledal" userId="da83bdda-499a-4427-8775-f375be339a54" providerId="ADAL" clId="{D4F7D428-4D3F-4D7F-A708-D669671558DA}" dt="2021-03-14T18:48:02.710" v="14704"/>
          <ac:grpSpMkLst>
            <pc:docMk/>
            <pc:sldMk cId="467438431" sldId="531"/>
            <ac:grpSpMk id="46" creationId="{1DCFAFF5-497A-4A76-9549-496D0538DB15}"/>
          </ac:grpSpMkLst>
        </pc:grpChg>
        <pc:grpChg chg="mod">
          <ac:chgData name="Lars Ivar Hatledal" userId="da83bdda-499a-4427-8775-f375be339a54" providerId="ADAL" clId="{D4F7D428-4D3F-4D7F-A708-D669671558DA}" dt="2021-03-14T18:48:02.710" v="14704"/>
          <ac:grpSpMkLst>
            <pc:docMk/>
            <pc:sldMk cId="467438431" sldId="531"/>
            <ac:grpSpMk id="47" creationId="{FB611A8B-5041-4B6A-8BFA-2895022EFE32}"/>
          </ac:grpSpMkLst>
        </pc:grpChg>
        <pc:picChg chg="del">
          <ac:chgData name="Lars Ivar Hatledal" userId="da83bdda-499a-4427-8775-f375be339a54" providerId="ADAL" clId="{D4F7D428-4D3F-4D7F-A708-D669671558DA}" dt="2021-03-13T17:48:35.747" v="7382" actId="478"/>
          <ac:picMkLst>
            <pc:docMk/>
            <pc:sldMk cId="467438431" sldId="531"/>
            <ac:picMk id="3" creationId="{46F3DFF6-63C9-403B-97E3-A819D5EA2BB6}"/>
          </ac:picMkLst>
        </pc:picChg>
      </pc:sldChg>
      <pc:sldChg chg="addSp delSp modSp add mod ord modNotesTx">
        <pc:chgData name="Lars Ivar Hatledal" userId="da83bdda-499a-4427-8775-f375be339a54" providerId="ADAL" clId="{D4F7D428-4D3F-4D7F-A708-D669671558DA}" dt="2021-03-18T19:06:56.727" v="23042" actId="20577"/>
        <pc:sldMkLst>
          <pc:docMk/>
          <pc:sldMk cId="3364103302" sldId="532"/>
        </pc:sldMkLst>
        <pc:spChg chg="del">
          <ac:chgData name="Lars Ivar Hatledal" userId="da83bdda-499a-4427-8775-f375be339a54" providerId="ADAL" clId="{D4F7D428-4D3F-4D7F-A708-D669671558DA}" dt="2021-03-14T08:49:08.029" v="8070" actId="478"/>
          <ac:spMkLst>
            <pc:docMk/>
            <pc:sldMk cId="3364103302" sldId="532"/>
            <ac:spMk id="21" creationId="{A025DCAC-E437-40D0-8A2E-7D20DB7A3F00}"/>
          </ac:spMkLst>
        </pc:spChg>
        <pc:spChg chg="del">
          <ac:chgData name="Lars Ivar Hatledal" userId="da83bdda-499a-4427-8775-f375be339a54" providerId="ADAL" clId="{D4F7D428-4D3F-4D7F-A708-D669671558DA}" dt="2021-03-14T08:49:05.717" v="8069" actId="478"/>
          <ac:spMkLst>
            <pc:docMk/>
            <pc:sldMk cId="3364103302" sldId="532"/>
            <ac:spMk id="23" creationId="{FB028DC4-029B-407D-8F6B-C523579AFE54}"/>
          </ac:spMkLst>
        </pc:spChg>
        <pc:spChg chg="mod">
          <ac:chgData name="Lars Ivar Hatledal" userId="da83bdda-499a-4427-8775-f375be339a54" providerId="ADAL" clId="{D4F7D428-4D3F-4D7F-A708-D669671558DA}" dt="2021-03-14T08:49:11.274" v="8071" actId="14100"/>
          <ac:spMkLst>
            <pc:docMk/>
            <pc:sldMk cId="3364103302" sldId="532"/>
            <ac:spMk id="26" creationId="{F7012B31-D035-4588-A480-DACDA83B843C}"/>
          </ac:spMkLst>
        </pc:spChg>
        <pc:spChg chg="mod">
          <ac:chgData name="Lars Ivar Hatledal" userId="da83bdda-499a-4427-8775-f375be339a54" providerId="ADAL" clId="{D4F7D428-4D3F-4D7F-A708-D669671558DA}" dt="2021-03-14T18:48:14.740" v="14710"/>
          <ac:spMkLst>
            <pc:docMk/>
            <pc:sldMk cId="3364103302" sldId="532"/>
            <ac:spMk id="47" creationId="{4196D5AA-A3CC-4CA4-B8E7-799EAD045517}"/>
          </ac:spMkLst>
        </pc:spChg>
        <pc:spChg chg="mod">
          <ac:chgData name="Lars Ivar Hatledal" userId="da83bdda-499a-4427-8775-f375be339a54" providerId="ADAL" clId="{D4F7D428-4D3F-4D7F-A708-D669671558DA}" dt="2021-03-14T18:48:14.740" v="14710"/>
          <ac:spMkLst>
            <pc:docMk/>
            <pc:sldMk cId="3364103302" sldId="532"/>
            <ac:spMk id="48" creationId="{2EF3CC13-D096-4DD3-8DE7-212106724C07}"/>
          </ac:spMkLst>
        </pc:spChg>
        <pc:spChg chg="mod">
          <ac:chgData name="Lars Ivar Hatledal" userId="da83bdda-499a-4427-8775-f375be339a54" providerId="ADAL" clId="{D4F7D428-4D3F-4D7F-A708-D669671558DA}" dt="2021-03-14T18:48:14.740" v="14710"/>
          <ac:spMkLst>
            <pc:docMk/>
            <pc:sldMk cId="3364103302" sldId="532"/>
            <ac:spMk id="49" creationId="{C2E06AF8-AA20-49FA-BC43-2F608F800980}"/>
          </ac:spMkLst>
        </pc:spChg>
        <pc:spChg chg="mod">
          <ac:chgData name="Lars Ivar Hatledal" userId="da83bdda-499a-4427-8775-f375be339a54" providerId="ADAL" clId="{D4F7D428-4D3F-4D7F-A708-D669671558DA}" dt="2021-03-14T18:48:14.740" v="14710"/>
          <ac:spMkLst>
            <pc:docMk/>
            <pc:sldMk cId="3364103302" sldId="532"/>
            <ac:spMk id="50" creationId="{B6933E45-D2BE-4D2E-B572-01577C6B15F6}"/>
          </ac:spMkLst>
        </pc:spChg>
        <pc:spChg chg="mod">
          <ac:chgData name="Lars Ivar Hatledal" userId="da83bdda-499a-4427-8775-f375be339a54" providerId="ADAL" clId="{D4F7D428-4D3F-4D7F-A708-D669671558DA}" dt="2021-03-14T18:48:14.740" v="14710"/>
          <ac:spMkLst>
            <pc:docMk/>
            <pc:sldMk cId="3364103302" sldId="532"/>
            <ac:spMk id="51" creationId="{E23AAA8D-E933-4179-9F4F-4BF40D5886E3}"/>
          </ac:spMkLst>
        </pc:spChg>
        <pc:spChg chg="mod">
          <ac:chgData name="Lars Ivar Hatledal" userId="da83bdda-499a-4427-8775-f375be339a54" providerId="ADAL" clId="{D4F7D428-4D3F-4D7F-A708-D669671558DA}" dt="2021-03-14T18:48:14.740" v="14710"/>
          <ac:spMkLst>
            <pc:docMk/>
            <pc:sldMk cId="3364103302" sldId="532"/>
            <ac:spMk id="52" creationId="{60A87EF9-2FDC-44DD-9978-6D788AFDDE05}"/>
          </ac:spMkLst>
        </pc:spChg>
        <pc:spChg chg="mod">
          <ac:chgData name="Lars Ivar Hatledal" userId="da83bdda-499a-4427-8775-f375be339a54" providerId="ADAL" clId="{D4F7D428-4D3F-4D7F-A708-D669671558DA}" dt="2021-03-14T18:48:14.740" v="14710"/>
          <ac:spMkLst>
            <pc:docMk/>
            <pc:sldMk cId="3364103302" sldId="532"/>
            <ac:spMk id="53" creationId="{9A7DAEE5-F957-48F7-AE57-030E7831A7C2}"/>
          </ac:spMkLst>
        </pc:spChg>
        <pc:spChg chg="mod">
          <ac:chgData name="Lars Ivar Hatledal" userId="da83bdda-499a-4427-8775-f375be339a54" providerId="ADAL" clId="{D4F7D428-4D3F-4D7F-A708-D669671558DA}" dt="2021-03-14T18:48:14.740" v="14710"/>
          <ac:spMkLst>
            <pc:docMk/>
            <pc:sldMk cId="3364103302" sldId="532"/>
            <ac:spMk id="54" creationId="{6F02ABCD-91E5-4AE8-B67A-4B0C548E6240}"/>
          </ac:spMkLst>
        </pc:spChg>
        <pc:spChg chg="mod">
          <ac:chgData name="Lars Ivar Hatledal" userId="da83bdda-499a-4427-8775-f375be339a54" providerId="ADAL" clId="{D4F7D428-4D3F-4D7F-A708-D669671558DA}" dt="2021-03-14T18:48:14.740" v="14710"/>
          <ac:spMkLst>
            <pc:docMk/>
            <pc:sldMk cId="3364103302" sldId="532"/>
            <ac:spMk id="55" creationId="{0C5D8AF7-2CC5-4449-A60E-1DD15B9F180A}"/>
          </ac:spMkLst>
        </pc:spChg>
        <pc:spChg chg="mod">
          <ac:chgData name="Lars Ivar Hatledal" userId="da83bdda-499a-4427-8775-f375be339a54" providerId="ADAL" clId="{D4F7D428-4D3F-4D7F-A708-D669671558DA}" dt="2021-03-14T18:48:14.740" v="14710"/>
          <ac:spMkLst>
            <pc:docMk/>
            <pc:sldMk cId="3364103302" sldId="532"/>
            <ac:spMk id="56" creationId="{89C41BFF-771A-4E9A-A0B3-AEB981C5C9EA}"/>
          </ac:spMkLst>
        </pc:spChg>
        <pc:grpChg chg="add mod">
          <ac:chgData name="Lars Ivar Hatledal" userId="da83bdda-499a-4427-8775-f375be339a54" providerId="ADAL" clId="{D4F7D428-4D3F-4D7F-A708-D669671558DA}" dt="2021-03-14T18:48:14.740" v="14710"/>
          <ac:grpSpMkLst>
            <pc:docMk/>
            <pc:sldMk cId="3364103302" sldId="532"/>
            <ac:grpSpMk id="23" creationId="{CBA23DE5-BD64-4665-A14F-61630EE7193A}"/>
          </ac:grpSpMkLst>
        </pc:grpChg>
        <pc:grpChg chg="mod">
          <ac:chgData name="Lars Ivar Hatledal" userId="da83bdda-499a-4427-8775-f375be339a54" providerId="ADAL" clId="{D4F7D428-4D3F-4D7F-A708-D669671558DA}" dt="2021-03-14T18:48:14.740" v="14710"/>
          <ac:grpSpMkLst>
            <pc:docMk/>
            <pc:sldMk cId="3364103302" sldId="532"/>
            <ac:grpSpMk id="24" creationId="{63A8C22E-2501-4CA7-A89C-AAF3E27FD7E1}"/>
          </ac:grpSpMkLst>
        </pc:grpChg>
        <pc:grpChg chg="del">
          <ac:chgData name="Lars Ivar Hatledal" userId="da83bdda-499a-4427-8775-f375be339a54" providerId="ADAL" clId="{D4F7D428-4D3F-4D7F-A708-D669671558DA}" dt="2021-03-14T18:48:14.490" v="14709" actId="478"/>
          <ac:grpSpMkLst>
            <pc:docMk/>
            <pc:sldMk cId="3364103302" sldId="532"/>
            <ac:grpSpMk id="25" creationId="{0F9B27B9-640B-4A52-AAF6-8A48C7C5619E}"/>
          </ac:grpSpMkLst>
        </pc:grpChg>
        <pc:grpChg chg="mod">
          <ac:chgData name="Lars Ivar Hatledal" userId="da83bdda-499a-4427-8775-f375be339a54" providerId="ADAL" clId="{D4F7D428-4D3F-4D7F-A708-D669671558DA}" dt="2021-03-14T18:48:14.740" v="14710"/>
          <ac:grpSpMkLst>
            <pc:docMk/>
            <pc:sldMk cId="3364103302" sldId="532"/>
            <ac:grpSpMk id="27" creationId="{A729120A-8E78-4C08-BD72-0FBBCFD2C5E4}"/>
          </ac:grpSpMkLst>
        </pc:grpChg>
        <pc:grpChg chg="mod">
          <ac:chgData name="Lars Ivar Hatledal" userId="da83bdda-499a-4427-8775-f375be339a54" providerId="ADAL" clId="{D4F7D428-4D3F-4D7F-A708-D669671558DA}" dt="2021-03-14T18:48:14.740" v="14710"/>
          <ac:grpSpMkLst>
            <pc:docMk/>
            <pc:sldMk cId="3364103302" sldId="532"/>
            <ac:grpSpMk id="44" creationId="{E4FA22F4-4224-4CBB-B26C-9A40CF8BC103}"/>
          </ac:grpSpMkLst>
        </pc:grpChg>
        <pc:grpChg chg="mod">
          <ac:chgData name="Lars Ivar Hatledal" userId="da83bdda-499a-4427-8775-f375be339a54" providerId="ADAL" clId="{D4F7D428-4D3F-4D7F-A708-D669671558DA}" dt="2021-03-14T18:48:14.740" v="14710"/>
          <ac:grpSpMkLst>
            <pc:docMk/>
            <pc:sldMk cId="3364103302" sldId="532"/>
            <ac:grpSpMk id="45" creationId="{6612AAA9-0533-4DCE-B16C-B59D9FC6E972}"/>
          </ac:grpSpMkLst>
        </pc:grpChg>
        <pc:grpChg chg="mod">
          <ac:chgData name="Lars Ivar Hatledal" userId="da83bdda-499a-4427-8775-f375be339a54" providerId="ADAL" clId="{D4F7D428-4D3F-4D7F-A708-D669671558DA}" dt="2021-03-14T18:48:14.740" v="14710"/>
          <ac:grpSpMkLst>
            <pc:docMk/>
            <pc:sldMk cId="3364103302" sldId="532"/>
            <ac:grpSpMk id="46" creationId="{F68BABA1-DE90-4E34-AB3D-FEEB2F9669E1}"/>
          </ac:grpSpMkLst>
        </pc:grpChg>
        <pc:picChg chg="add mod">
          <ac:chgData name="Lars Ivar Hatledal" userId="da83bdda-499a-4427-8775-f375be339a54" providerId="ADAL" clId="{D4F7D428-4D3F-4D7F-A708-D669671558DA}" dt="2021-03-14T15:26:40.709" v="10086" actId="14100"/>
          <ac:picMkLst>
            <pc:docMk/>
            <pc:sldMk cId="3364103302" sldId="532"/>
            <ac:picMk id="2" creationId="{C916E43E-269B-4210-9B07-1FE57243416C}"/>
          </ac:picMkLst>
        </pc:picChg>
        <pc:picChg chg="add mod">
          <ac:chgData name="Lars Ivar Hatledal" userId="da83bdda-499a-4427-8775-f375be339a54" providerId="ADAL" clId="{D4F7D428-4D3F-4D7F-A708-D669671558DA}" dt="2021-03-14T15:26:48.998" v="10090" actId="1076"/>
          <ac:picMkLst>
            <pc:docMk/>
            <pc:sldMk cId="3364103302" sldId="532"/>
            <ac:picMk id="3" creationId="{7E2C0C95-B3F2-46C3-8A68-308B1FF6581D}"/>
          </ac:picMkLst>
        </pc:picChg>
        <pc:picChg chg="del">
          <ac:chgData name="Lars Ivar Hatledal" userId="da83bdda-499a-4427-8775-f375be339a54" providerId="ADAL" clId="{D4F7D428-4D3F-4D7F-A708-D669671558DA}" dt="2021-03-13T17:59:36.385" v="7600" actId="478"/>
          <ac:picMkLst>
            <pc:docMk/>
            <pc:sldMk cId="3364103302" sldId="532"/>
            <ac:picMk id="43" creationId="{38E628DF-93C7-493E-BC08-0B291E24BC9B}"/>
          </ac:picMkLst>
        </pc:picChg>
        <pc:picChg chg="add mod">
          <ac:chgData name="Lars Ivar Hatledal" userId="da83bdda-499a-4427-8775-f375be339a54" providerId="ADAL" clId="{D4F7D428-4D3F-4D7F-A708-D669671558DA}" dt="2021-03-14T15:26:43.686" v="10088" actId="1076"/>
          <ac:picMkLst>
            <pc:docMk/>
            <pc:sldMk cId="3364103302" sldId="532"/>
            <ac:picMk id="43" creationId="{BCD5545A-8125-47C4-AE62-763906185A12}"/>
          </ac:picMkLst>
        </pc:picChg>
        <pc:cxnChg chg="del mod">
          <ac:chgData name="Lars Ivar Hatledal" userId="da83bdda-499a-4427-8775-f375be339a54" providerId="ADAL" clId="{D4F7D428-4D3F-4D7F-A708-D669671558DA}" dt="2021-03-14T08:49:16.567" v="8072" actId="478"/>
          <ac:cxnSpMkLst>
            <pc:docMk/>
            <pc:sldMk cId="3364103302" sldId="532"/>
            <ac:cxnSpMk id="27" creationId="{1FF9E454-F0A3-49B6-A937-51A5F4A2DD96}"/>
          </ac:cxnSpMkLst>
        </pc:cxnChg>
      </pc:sldChg>
      <pc:sldChg chg="new del">
        <pc:chgData name="Lars Ivar Hatledal" userId="da83bdda-499a-4427-8775-f375be339a54" providerId="ADAL" clId="{D4F7D428-4D3F-4D7F-A708-D669671558DA}" dt="2021-03-14T12:37:32.443" v="8168" actId="47"/>
        <pc:sldMkLst>
          <pc:docMk/>
          <pc:sldMk cId="3358188423" sldId="533"/>
        </pc:sldMkLst>
      </pc:sldChg>
      <pc:sldChg chg="addSp delSp modSp add mod modNotesTx">
        <pc:chgData name="Lars Ivar Hatledal" userId="da83bdda-499a-4427-8775-f375be339a54" providerId="ADAL" clId="{D4F7D428-4D3F-4D7F-A708-D669671558DA}" dt="2021-03-18T21:59:52.358" v="28168" actId="20577"/>
        <pc:sldMkLst>
          <pc:docMk/>
          <pc:sldMk cId="1421562340" sldId="534"/>
        </pc:sldMkLst>
        <pc:spChg chg="mod">
          <ac:chgData name="Lars Ivar Hatledal" userId="da83bdda-499a-4427-8775-f375be339a54" providerId="ADAL" clId="{D4F7D428-4D3F-4D7F-A708-D669671558DA}" dt="2021-03-18T21:58:40.248" v="27991" actId="20577"/>
          <ac:spMkLst>
            <pc:docMk/>
            <pc:sldMk cId="1421562340" sldId="534"/>
            <ac:spMk id="26" creationId="{F7012B31-D035-4588-A480-DACDA83B843C}"/>
          </ac:spMkLst>
        </pc:spChg>
        <pc:spChg chg="mod">
          <ac:chgData name="Lars Ivar Hatledal" userId="da83bdda-499a-4427-8775-f375be339a54" providerId="ADAL" clId="{D4F7D428-4D3F-4D7F-A708-D669671558DA}" dt="2021-03-14T13:46:44.825" v="9149" actId="20577"/>
          <ac:spMkLst>
            <pc:docMk/>
            <pc:sldMk cId="1421562340" sldId="534"/>
            <ac:spMk id="28" creationId="{48703A56-96F6-4216-B29F-75E1A68FEBED}"/>
          </ac:spMkLst>
        </pc:spChg>
        <pc:spChg chg="mod">
          <ac:chgData name="Lars Ivar Hatledal" userId="da83bdda-499a-4427-8775-f375be339a54" providerId="ADAL" clId="{D4F7D428-4D3F-4D7F-A708-D669671558DA}" dt="2021-03-14T18:48:35.550" v="14722"/>
          <ac:spMkLst>
            <pc:docMk/>
            <pc:sldMk cId="1421562340" sldId="534"/>
            <ac:spMk id="45" creationId="{AB2CFA66-AD0C-49EE-B52C-91F3B47291E2}"/>
          </ac:spMkLst>
        </pc:spChg>
        <pc:spChg chg="mod">
          <ac:chgData name="Lars Ivar Hatledal" userId="da83bdda-499a-4427-8775-f375be339a54" providerId="ADAL" clId="{D4F7D428-4D3F-4D7F-A708-D669671558DA}" dt="2021-03-14T18:48:35.550" v="14722"/>
          <ac:spMkLst>
            <pc:docMk/>
            <pc:sldMk cId="1421562340" sldId="534"/>
            <ac:spMk id="46" creationId="{C947E56C-FFA0-41F8-A4DF-51D18B554554}"/>
          </ac:spMkLst>
        </pc:spChg>
        <pc:spChg chg="mod">
          <ac:chgData name="Lars Ivar Hatledal" userId="da83bdda-499a-4427-8775-f375be339a54" providerId="ADAL" clId="{D4F7D428-4D3F-4D7F-A708-D669671558DA}" dt="2021-03-14T18:48:35.550" v="14722"/>
          <ac:spMkLst>
            <pc:docMk/>
            <pc:sldMk cId="1421562340" sldId="534"/>
            <ac:spMk id="47" creationId="{3D6945FC-895C-448C-8777-D0B9F8D405CC}"/>
          </ac:spMkLst>
        </pc:spChg>
        <pc:spChg chg="mod">
          <ac:chgData name="Lars Ivar Hatledal" userId="da83bdda-499a-4427-8775-f375be339a54" providerId="ADAL" clId="{D4F7D428-4D3F-4D7F-A708-D669671558DA}" dt="2021-03-14T18:48:35.550" v="14722"/>
          <ac:spMkLst>
            <pc:docMk/>
            <pc:sldMk cId="1421562340" sldId="534"/>
            <ac:spMk id="48" creationId="{66936114-D612-4376-A2E2-7515AD97E2C1}"/>
          </ac:spMkLst>
        </pc:spChg>
        <pc:spChg chg="mod">
          <ac:chgData name="Lars Ivar Hatledal" userId="da83bdda-499a-4427-8775-f375be339a54" providerId="ADAL" clId="{D4F7D428-4D3F-4D7F-A708-D669671558DA}" dt="2021-03-14T18:48:35.550" v="14722"/>
          <ac:spMkLst>
            <pc:docMk/>
            <pc:sldMk cId="1421562340" sldId="534"/>
            <ac:spMk id="49" creationId="{95D32120-344C-4DB8-A531-3ADABE94C3DE}"/>
          </ac:spMkLst>
        </pc:spChg>
        <pc:spChg chg="mod">
          <ac:chgData name="Lars Ivar Hatledal" userId="da83bdda-499a-4427-8775-f375be339a54" providerId="ADAL" clId="{D4F7D428-4D3F-4D7F-A708-D669671558DA}" dt="2021-03-14T18:48:35.550" v="14722"/>
          <ac:spMkLst>
            <pc:docMk/>
            <pc:sldMk cId="1421562340" sldId="534"/>
            <ac:spMk id="50" creationId="{54E35F33-0AD8-4D00-852B-0EC6DB8E279B}"/>
          </ac:spMkLst>
        </pc:spChg>
        <pc:spChg chg="mod">
          <ac:chgData name="Lars Ivar Hatledal" userId="da83bdda-499a-4427-8775-f375be339a54" providerId="ADAL" clId="{D4F7D428-4D3F-4D7F-A708-D669671558DA}" dt="2021-03-14T18:48:35.550" v="14722"/>
          <ac:spMkLst>
            <pc:docMk/>
            <pc:sldMk cId="1421562340" sldId="534"/>
            <ac:spMk id="51" creationId="{3B8DECF4-2918-4270-BC15-61E2B65942A5}"/>
          </ac:spMkLst>
        </pc:spChg>
        <pc:spChg chg="mod">
          <ac:chgData name="Lars Ivar Hatledal" userId="da83bdda-499a-4427-8775-f375be339a54" providerId="ADAL" clId="{D4F7D428-4D3F-4D7F-A708-D669671558DA}" dt="2021-03-14T18:48:35.550" v="14722"/>
          <ac:spMkLst>
            <pc:docMk/>
            <pc:sldMk cId="1421562340" sldId="534"/>
            <ac:spMk id="52" creationId="{28220CAD-7244-49A5-A8CE-E5CCD4FEE218}"/>
          </ac:spMkLst>
        </pc:spChg>
        <pc:spChg chg="mod">
          <ac:chgData name="Lars Ivar Hatledal" userId="da83bdda-499a-4427-8775-f375be339a54" providerId="ADAL" clId="{D4F7D428-4D3F-4D7F-A708-D669671558DA}" dt="2021-03-14T18:48:35.550" v="14722"/>
          <ac:spMkLst>
            <pc:docMk/>
            <pc:sldMk cId="1421562340" sldId="534"/>
            <ac:spMk id="53" creationId="{A1417231-0130-45DE-943B-F44A2D581F3B}"/>
          </ac:spMkLst>
        </pc:spChg>
        <pc:spChg chg="mod">
          <ac:chgData name="Lars Ivar Hatledal" userId="da83bdda-499a-4427-8775-f375be339a54" providerId="ADAL" clId="{D4F7D428-4D3F-4D7F-A708-D669671558DA}" dt="2021-03-14T18:48:35.550" v="14722"/>
          <ac:spMkLst>
            <pc:docMk/>
            <pc:sldMk cId="1421562340" sldId="534"/>
            <ac:spMk id="54" creationId="{3449A5E5-203E-4BF6-A6EF-FA3B49B1AE4B}"/>
          </ac:spMkLst>
        </pc:spChg>
        <pc:grpChg chg="add mod">
          <ac:chgData name="Lars Ivar Hatledal" userId="da83bdda-499a-4427-8775-f375be339a54" providerId="ADAL" clId="{D4F7D428-4D3F-4D7F-A708-D669671558DA}" dt="2021-03-14T18:48:35.550" v="14722"/>
          <ac:grpSpMkLst>
            <pc:docMk/>
            <pc:sldMk cId="1421562340" sldId="534"/>
            <ac:grpSpMk id="21" creationId="{A727E4BD-2657-4527-B659-119C955BF573}"/>
          </ac:grpSpMkLst>
        </pc:grpChg>
        <pc:grpChg chg="mod">
          <ac:chgData name="Lars Ivar Hatledal" userId="da83bdda-499a-4427-8775-f375be339a54" providerId="ADAL" clId="{D4F7D428-4D3F-4D7F-A708-D669671558DA}" dt="2021-03-14T18:48:35.550" v="14722"/>
          <ac:grpSpMkLst>
            <pc:docMk/>
            <pc:sldMk cId="1421562340" sldId="534"/>
            <ac:grpSpMk id="22" creationId="{9AFC8E49-1082-4D86-A01C-2AFCBB90C7DC}"/>
          </ac:grpSpMkLst>
        </pc:grpChg>
        <pc:grpChg chg="mod">
          <ac:chgData name="Lars Ivar Hatledal" userId="da83bdda-499a-4427-8775-f375be339a54" providerId="ADAL" clId="{D4F7D428-4D3F-4D7F-A708-D669671558DA}" dt="2021-03-14T18:48:35.550" v="14722"/>
          <ac:grpSpMkLst>
            <pc:docMk/>
            <pc:sldMk cId="1421562340" sldId="534"/>
            <ac:grpSpMk id="23" creationId="{00304A27-B82B-4BB0-85F3-DD7970D1B101}"/>
          </ac:grpSpMkLst>
        </pc:grpChg>
        <pc:grpChg chg="mod">
          <ac:chgData name="Lars Ivar Hatledal" userId="da83bdda-499a-4427-8775-f375be339a54" providerId="ADAL" clId="{D4F7D428-4D3F-4D7F-A708-D669671558DA}" dt="2021-03-14T18:48:35.550" v="14722"/>
          <ac:grpSpMkLst>
            <pc:docMk/>
            <pc:sldMk cId="1421562340" sldId="534"/>
            <ac:grpSpMk id="24" creationId="{9BFFBC34-93EB-462A-98FD-D23587896FDB}"/>
          </ac:grpSpMkLst>
        </pc:grpChg>
        <pc:grpChg chg="del">
          <ac:chgData name="Lars Ivar Hatledal" userId="da83bdda-499a-4427-8775-f375be339a54" providerId="ADAL" clId="{D4F7D428-4D3F-4D7F-A708-D669671558DA}" dt="2021-03-14T18:48:35.200" v="14721" actId="478"/>
          <ac:grpSpMkLst>
            <pc:docMk/>
            <pc:sldMk cId="1421562340" sldId="534"/>
            <ac:grpSpMk id="25" creationId="{0F9B27B9-640B-4A52-AAF6-8A48C7C5619E}"/>
          </ac:grpSpMkLst>
        </pc:grpChg>
        <pc:grpChg chg="mod">
          <ac:chgData name="Lars Ivar Hatledal" userId="da83bdda-499a-4427-8775-f375be339a54" providerId="ADAL" clId="{D4F7D428-4D3F-4D7F-A708-D669671558DA}" dt="2021-03-14T18:48:35.550" v="14722"/>
          <ac:grpSpMkLst>
            <pc:docMk/>
            <pc:sldMk cId="1421562340" sldId="534"/>
            <ac:grpSpMk id="43" creationId="{6EB8DCA8-D1A6-4B26-8793-D9BBF604611C}"/>
          </ac:grpSpMkLst>
        </pc:grpChg>
        <pc:grpChg chg="mod">
          <ac:chgData name="Lars Ivar Hatledal" userId="da83bdda-499a-4427-8775-f375be339a54" providerId="ADAL" clId="{D4F7D428-4D3F-4D7F-A708-D669671558DA}" dt="2021-03-14T18:48:35.550" v="14722"/>
          <ac:grpSpMkLst>
            <pc:docMk/>
            <pc:sldMk cId="1421562340" sldId="534"/>
            <ac:grpSpMk id="44" creationId="{DA083909-C8E7-4B22-BA1D-36754D99A8A2}"/>
          </ac:grpSpMkLst>
        </pc:grpChg>
        <pc:picChg chg="del">
          <ac:chgData name="Lars Ivar Hatledal" userId="da83bdda-499a-4427-8775-f375be339a54" providerId="ADAL" clId="{D4F7D428-4D3F-4D7F-A708-D669671558DA}" dt="2021-03-14T12:37:35.647" v="8169" actId="478"/>
          <ac:picMkLst>
            <pc:docMk/>
            <pc:sldMk cId="1421562340" sldId="534"/>
            <ac:picMk id="22" creationId="{5DC11D89-FBA8-4BB1-A15D-90EFD8BBFA98}"/>
          </ac:picMkLst>
        </pc:picChg>
        <pc:picChg chg="del">
          <ac:chgData name="Lars Ivar Hatledal" userId="da83bdda-499a-4427-8775-f375be339a54" providerId="ADAL" clId="{D4F7D428-4D3F-4D7F-A708-D669671558DA}" dt="2021-03-14T12:37:35.647" v="8169" actId="478"/>
          <ac:picMkLst>
            <pc:docMk/>
            <pc:sldMk cId="1421562340" sldId="534"/>
            <ac:picMk id="23" creationId="{65508086-799B-4715-A72B-95F1F89695CB}"/>
          </ac:picMkLst>
        </pc:picChg>
      </pc:sldChg>
      <pc:sldChg chg="addSp delSp modSp add mod modNotesTx">
        <pc:chgData name="Lars Ivar Hatledal" userId="da83bdda-499a-4427-8775-f375be339a54" providerId="ADAL" clId="{D4F7D428-4D3F-4D7F-A708-D669671558DA}" dt="2021-03-18T20:56:18.038" v="26543" actId="20577"/>
        <pc:sldMkLst>
          <pc:docMk/>
          <pc:sldMk cId="597095498" sldId="535"/>
        </pc:sldMkLst>
        <pc:spChg chg="add mod">
          <ac:chgData name="Lars Ivar Hatledal" userId="da83bdda-499a-4427-8775-f375be339a54" providerId="ADAL" clId="{D4F7D428-4D3F-4D7F-A708-D669671558DA}" dt="2021-03-14T18:53:44.469" v="14816" actId="1076"/>
          <ac:spMkLst>
            <pc:docMk/>
            <pc:sldMk cId="597095498" sldId="535"/>
            <ac:spMk id="4" creationId="{B77B0043-E0E6-4891-A7DA-A95FABF235F9}"/>
          </ac:spMkLst>
        </pc:spChg>
        <pc:spChg chg="mod">
          <ac:chgData name="Lars Ivar Hatledal" userId="da83bdda-499a-4427-8775-f375be339a54" providerId="ADAL" clId="{D4F7D428-4D3F-4D7F-A708-D669671558DA}" dt="2021-03-18T20:56:02.058" v="26533" actId="20577"/>
          <ac:spMkLst>
            <pc:docMk/>
            <pc:sldMk cId="597095498" sldId="535"/>
            <ac:spMk id="7" creationId="{63991A79-2DF5-4987-8986-F8B6237BF2C9}"/>
          </ac:spMkLst>
        </pc:spChg>
        <pc:spChg chg="add mod">
          <ac:chgData name="Lars Ivar Hatledal" userId="da83bdda-499a-4427-8775-f375be339a54" providerId="ADAL" clId="{D4F7D428-4D3F-4D7F-A708-D669671558DA}" dt="2021-03-14T18:53:46.979" v="14817" actId="1076"/>
          <ac:spMkLst>
            <pc:docMk/>
            <pc:sldMk cId="597095498" sldId="535"/>
            <ac:spMk id="29" creationId="{2D298409-223E-4AAF-90AD-46E6995645A1}"/>
          </ac:spMkLst>
        </pc:spChg>
        <pc:spChg chg="mod">
          <ac:chgData name="Lars Ivar Hatledal" userId="da83bdda-499a-4427-8775-f375be339a54" providerId="ADAL" clId="{D4F7D428-4D3F-4D7F-A708-D669671558DA}" dt="2021-03-18T19:24:54.061" v="23569" actId="207"/>
          <ac:spMkLst>
            <pc:docMk/>
            <pc:sldMk cId="597095498" sldId="535"/>
            <ac:spMk id="45" creationId="{ABE05CC7-87A9-4E18-AEA7-3CFE48FBF726}"/>
          </ac:spMkLst>
        </pc:spChg>
        <pc:spChg chg="mod">
          <ac:chgData name="Lars Ivar Hatledal" userId="da83bdda-499a-4427-8775-f375be339a54" providerId="ADAL" clId="{D4F7D428-4D3F-4D7F-A708-D669671558DA}" dt="2021-03-14T18:48:53.780" v="14732"/>
          <ac:spMkLst>
            <pc:docMk/>
            <pc:sldMk cId="597095498" sldId="535"/>
            <ac:spMk id="53" creationId="{F0824902-2EB7-45A7-8B95-FADFBB7C8C52}"/>
          </ac:spMkLst>
        </pc:spChg>
        <pc:spChg chg="mod">
          <ac:chgData name="Lars Ivar Hatledal" userId="da83bdda-499a-4427-8775-f375be339a54" providerId="ADAL" clId="{D4F7D428-4D3F-4D7F-A708-D669671558DA}" dt="2021-03-14T18:48:53.780" v="14732"/>
          <ac:spMkLst>
            <pc:docMk/>
            <pc:sldMk cId="597095498" sldId="535"/>
            <ac:spMk id="54" creationId="{DB28B441-2B3F-4D43-B04A-5D19180D0A67}"/>
          </ac:spMkLst>
        </pc:spChg>
        <pc:spChg chg="mod">
          <ac:chgData name="Lars Ivar Hatledal" userId="da83bdda-499a-4427-8775-f375be339a54" providerId="ADAL" clId="{D4F7D428-4D3F-4D7F-A708-D669671558DA}" dt="2021-03-14T18:48:53.780" v="14732"/>
          <ac:spMkLst>
            <pc:docMk/>
            <pc:sldMk cId="597095498" sldId="535"/>
            <ac:spMk id="55" creationId="{17396315-9672-4332-80D8-DA6020A1C5B4}"/>
          </ac:spMkLst>
        </pc:spChg>
        <pc:spChg chg="mod">
          <ac:chgData name="Lars Ivar Hatledal" userId="da83bdda-499a-4427-8775-f375be339a54" providerId="ADAL" clId="{D4F7D428-4D3F-4D7F-A708-D669671558DA}" dt="2021-03-14T18:48:53.780" v="14732"/>
          <ac:spMkLst>
            <pc:docMk/>
            <pc:sldMk cId="597095498" sldId="535"/>
            <ac:spMk id="56" creationId="{D7DAB289-12B3-4FA0-8663-B02DD3D0A928}"/>
          </ac:spMkLst>
        </pc:spChg>
        <pc:spChg chg="mod">
          <ac:chgData name="Lars Ivar Hatledal" userId="da83bdda-499a-4427-8775-f375be339a54" providerId="ADAL" clId="{D4F7D428-4D3F-4D7F-A708-D669671558DA}" dt="2021-03-14T18:48:53.780" v="14732"/>
          <ac:spMkLst>
            <pc:docMk/>
            <pc:sldMk cId="597095498" sldId="535"/>
            <ac:spMk id="57" creationId="{0593E0BC-ABC5-41DD-AF26-24DC15302B8B}"/>
          </ac:spMkLst>
        </pc:spChg>
        <pc:spChg chg="mod">
          <ac:chgData name="Lars Ivar Hatledal" userId="da83bdda-499a-4427-8775-f375be339a54" providerId="ADAL" clId="{D4F7D428-4D3F-4D7F-A708-D669671558DA}" dt="2021-03-14T18:48:53.780" v="14732"/>
          <ac:spMkLst>
            <pc:docMk/>
            <pc:sldMk cId="597095498" sldId="535"/>
            <ac:spMk id="58" creationId="{6BC0FEAF-9F91-4BA4-AE8F-0E4289CD1EA1}"/>
          </ac:spMkLst>
        </pc:spChg>
        <pc:spChg chg="mod">
          <ac:chgData name="Lars Ivar Hatledal" userId="da83bdda-499a-4427-8775-f375be339a54" providerId="ADAL" clId="{D4F7D428-4D3F-4D7F-A708-D669671558DA}" dt="2021-03-14T18:48:53.780" v="14732"/>
          <ac:spMkLst>
            <pc:docMk/>
            <pc:sldMk cId="597095498" sldId="535"/>
            <ac:spMk id="59" creationId="{613915F8-C8E0-4631-85E6-8F0284CC2CE5}"/>
          </ac:spMkLst>
        </pc:spChg>
        <pc:spChg chg="mod">
          <ac:chgData name="Lars Ivar Hatledal" userId="da83bdda-499a-4427-8775-f375be339a54" providerId="ADAL" clId="{D4F7D428-4D3F-4D7F-A708-D669671558DA}" dt="2021-03-14T18:48:53.780" v="14732"/>
          <ac:spMkLst>
            <pc:docMk/>
            <pc:sldMk cId="597095498" sldId="535"/>
            <ac:spMk id="60" creationId="{431092C2-0C91-4B63-B749-923A1EC62E60}"/>
          </ac:spMkLst>
        </pc:spChg>
        <pc:spChg chg="mod">
          <ac:chgData name="Lars Ivar Hatledal" userId="da83bdda-499a-4427-8775-f375be339a54" providerId="ADAL" clId="{D4F7D428-4D3F-4D7F-A708-D669671558DA}" dt="2021-03-14T18:48:53.780" v="14732"/>
          <ac:spMkLst>
            <pc:docMk/>
            <pc:sldMk cId="597095498" sldId="535"/>
            <ac:spMk id="61" creationId="{04ECFF7B-FF87-45A7-A12B-BA0887E4FDC3}"/>
          </ac:spMkLst>
        </pc:spChg>
        <pc:spChg chg="mod">
          <ac:chgData name="Lars Ivar Hatledal" userId="da83bdda-499a-4427-8775-f375be339a54" providerId="ADAL" clId="{D4F7D428-4D3F-4D7F-A708-D669671558DA}" dt="2021-03-14T18:48:53.780" v="14732"/>
          <ac:spMkLst>
            <pc:docMk/>
            <pc:sldMk cId="597095498" sldId="535"/>
            <ac:spMk id="62" creationId="{781A0DFD-71C2-4D17-BCBF-62A71D461410}"/>
          </ac:spMkLst>
        </pc:spChg>
        <pc:grpChg chg="del">
          <ac:chgData name="Lars Ivar Hatledal" userId="da83bdda-499a-4427-8775-f375be339a54" providerId="ADAL" clId="{D4F7D428-4D3F-4D7F-A708-D669671558DA}" dt="2021-03-14T18:48:53.410" v="14731" actId="478"/>
          <ac:grpSpMkLst>
            <pc:docMk/>
            <pc:sldMk cId="597095498" sldId="535"/>
            <ac:grpSpMk id="2" creationId="{FB0E3E3F-4D6E-4365-B8D1-477E1C1440EC}"/>
          </ac:grpSpMkLst>
        </pc:grpChg>
        <pc:grpChg chg="add mod">
          <ac:chgData name="Lars Ivar Hatledal" userId="da83bdda-499a-4427-8775-f375be339a54" providerId="ADAL" clId="{D4F7D428-4D3F-4D7F-A708-D669671558DA}" dt="2021-03-14T18:48:53.780" v="14732"/>
          <ac:grpSpMkLst>
            <pc:docMk/>
            <pc:sldMk cId="597095498" sldId="535"/>
            <ac:grpSpMk id="28" creationId="{9C04B184-E98C-40DB-A388-5293559FD662}"/>
          </ac:grpSpMkLst>
        </pc:grpChg>
        <pc:grpChg chg="mod">
          <ac:chgData name="Lars Ivar Hatledal" userId="da83bdda-499a-4427-8775-f375be339a54" providerId="ADAL" clId="{D4F7D428-4D3F-4D7F-A708-D669671558DA}" dt="2021-03-14T18:48:53.780" v="14732"/>
          <ac:grpSpMkLst>
            <pc:docMk/>
            <pc:sldMk cId="597095498" sldId="535"/>
            <ac:grpSpMk id="30" creationId="{A00D3301-3C8E-4A70-94F6-1F614198CAEF}"/>
          </ac:grpSpMkLst>
        </pc:grpChg>
        <pc:grpChg chg="mod">
          <ac:chgData name="Lars Ivar Hatledal" userId="da83bdda-499a-4427-8775-f375be339a54" providerId="ADAL" clId="{D4F7D428-4D3F-4D7F-A708-D669671558DA}" dt="2021-03-14T18:48:53.780" v="14732"/>
          <ac:grpSpMkLst>
            <pc:docMk/>
            <pc:sldMk cId="597095498" sldId="535"/>
            <ac:grpSpMk id="31" creationId="{146078D6-F0BD-43EE-ABB3-83A2A6D149F2}"/>
          </ac:grpSpMkLst>
        </pc:grpChg>
        <pc:grpChg chg="mod">
          <ac:chgData name="Lars Ivar Hatledal" userId="da83bdda-499a-4427-8775-f375be339a54" providerId="ADAL" clId="{D4F7D428-4D3F-4D7F-A708-D669671558DA}" dt="2021-03-14T18:48:53.780" v="14732"/>
          <ac:grpSpMkLst>
            <pc:docMk/>
            <pc:sldMk cId="597095498" sldId="535"/>
            <ac:grpSpMk id="32" creationId="{09036C07-4FE6-4F01-9E3E-53FB697150D9}"/>
          </ac:grpSpMkLst>
        </pc:grpChg>
        <pc:grpChg chg="mod">
          <ac:chgData name="Lars Ivar Hatledal" userId="da83bdda-499a-4427-8775-f375be339a54" providerId="ADAL" clId="{D4F7D428-4D3F-4D7F-A708-D669671558DA}" dt="2021-03-14T18:48:53.780" v="14732"/>
          <ac:grpSpMkLst>
            <pc:docMk/>
            <pc:sldMk cId="597095498" sldId="535"/>
            <ac:grpSpMk id="33" creationId="{C9AFA19E-9691-435D-95F5-DF76792E4612}"/>
          </ac:grpSpMkLst>
        </pc:grpChg>
        <pc:grpChg chg="mod">
          <ac:chgData name="Lars Ivar Hatledal" userId="da83bdda-499a-4427-8775-f375be339a54" providerId="ADAL" clId="{D4F7D428-4D3F-4D7F-A708-D669671558DA}" dt="2021-03-14T18:48:53.780" v="14732"/>
          <ac:grpSpMkLst>
            <pc:docMk/>
            <pc:sldMk cId="597095498" sldId="535"/>
            <ac:grpSpMk id="34" creationId="{969632A3-3684-43A0-858C-FCE35D6C5CC7}"/>
          </ac:grpSpMkLst>
        </pc:grpChg>
        <pc:graphicFrameChg chg="add mod">
          <ac:chgData name="Lars Ivar Hatledal" userId="da83bdda-499a-4427-8775-f375be339a54" providerId="ADAL" clId="{D4F7D428-4D3F-4D7F-A708-D669671558DA}" dt="2021-03-14T17:42:19.061" v="12624" actId="1036"/>
          <ac:graphicFrameMkLst>
            <pc:docMk/>
            <pc:sldMk cId="597095498" sldId="535"/>
            <ac:graphicFrameMk id="24" creationId="{A4653B16-C9F5-4065-839A-0C08F58CD2B1}"/>
          </ac:graphicFrameMkLst>
        </pc:graphicFrameChg>
        <pc:picChg chg="add del mod">
          <ac:chgData name="Lars Ivar Hatledal" userId="da83bdda-499a-4427-8775-f375be339a54" providerId="ADAL" clId="{D4F7D428-4D3F-4D7F-A708-D669671558DA}" dt="2021-03-14T18:53:34.669" v="14814" actId="478"/>
          <ac:picMkLst>
            <pc:docMk/>
            <pc:sldMk cId="597095498" sldId="535"/>
            <ac:picMk id="3" creationId="{3639B90B-0BF6-4D50-A338-A0B4A542F45D}"/>
          </ac:picMkLst>
        </pc:picChg>
        <pc:picChg chg="add del">
          <ac:chgData name="Lars Ivar Hatledal" userId="da83bdda-499a-4427-8775-f375be339a54" providerId="ADAL" clId="{D4F7D428-4D3F-4D7F-A708-D669671558DA}" dt="2021-03-14T16:46:39.962" v="12322"/>
          <ac:picMkLst>
            <pc:docMk/>
            <pc:sldMk cId="597095498" sldId="535"/>
            <ac:picMk id="5" creationId="{134464F2-7BE6-4E84-B496-F648BEF72BE5}"/>
          </ac:picMkLst>
        </pc:picChg>
        <pc:picChg chg="add mod">
          <ac:chgData name="Lars Ivar Hatledal" userId="da83bdda-499a-4427-8775-f375be339a54" providerId="ADAL" clId="{D4F7D428-4D3F-4D7F-A708-D669671558DA}" dt="2021-03-14T17:42:19.061" v="12624" actId="1036"/>
          <ac:picMkLst>
            <pc:docMk/>
            <pc:sldMk cId="597095498" sldId="535"/>
            <ac:picMk id="25" creationId="{9DBF8B26-6FDD-45BF-AB83-E9F76D5280C8}"/>
          </ac:picMkLst>
        </pc:picChg>
        <pc:picChg chg="del">
          <ac:chgData name="Lars Ivar Hatledal" userId="da83bdda-499a-4427-8775-f375be339a54" providerId="ADAL" clId="{D4F7D428-4D3F-4D7F-A708-D669671558DA}" dt="2021-03-14T16:16:42.560" v="11398" actId="478"/>
          <ac:picMkLst>
            <pc:docMk/>
            <pc:sldMk cId="597095498" sldId="535"/>
            <ac:picMk id="12293" creationId="{9799D8A1-E00F-4EC9-A6FC-004EE29B1C27}"/>
          </ac:picMkLst>
        </pc:picChg>
      </pc:sldChg>
      <pc:sldChg chg="new del">
        <pc:chgData name="Lars Ivar Hatledal" userId="da83bdda-499a-4427-8775-f375be339a54" providerId="ADAL" clId="{D4F7D428-4D3F-4D7F-A708-D669671558DA}" dt="2021-03-14T15:33:52.372" v="10096" actId="47"/>
        <pc:sldMkLst>
          <pc:docMk/>
          <pc:sldMk cId="755824873" sldId="535"/>
        </pc:sldMkLst>
      </pc:sldChg>
      <pc:sldChg chg="addSp delSp modSp add del mod">
        <pc:chgData name="Lars Ivar Hatledal" userId="da83bdda-499a-4427-8775-f375be339a54" providerId="ADAL" clId="{D4F7D428-4D3F-4D7F-A708-D669671558DA}" dt="2021-03-14T15:34:08.554" v="10099" actId="47"/>
        <pc:sldMkLst>
          <pc:docMk/>
          <pc:sldMk cId="2975047824" sldId="535"/>
        </pc:sldMkLst>
        <pc:spChg chg="add mod">
          <ac:chgData name="Lars Ivar Hatledal" userId="da83bdda-499a-4427-8775-f375be339a54" providerId="ADAL" clId="{D4F7D428-4D3F-4D7F-A708-D669671558DA}" dt="2021-03-14T15:34:05.414" v="10098" actId="478"/>
          <ac:spMkLst>
            <pc:docMk/>
            <pc:sldMk cId="2975047824" sldId="535"/>
            <ac:spMk id="3" creationId="{E9CADB4B-32D1-49AA-838A-F3FCB6D6CC41}"/>
          </ac:spMkLst>
        </pc:spChg>
        <pc:picChg chg="del">
          <ac:chgData name="Lars Ivar Hatledal" userId="da83bdda-499a-4427-8775-f375be339a54" providerId="ADAL" clId="{D4F7D428-4D3F-4D7F-A708-D669671558DA}" dt="2021-03-14T15:34:05.414" v="10098" actId="478"/>
          <ac:picMkLst>
            <pc:docMk/>
            <pc:sldMk cId="2975047824" sldId="535"/>
            <ac:picMk id="45" creationId="{2499C2AF-B6CF-436A-83AC-633B8F623B38}"/>
          </ac:picMkLst>
        </pc:picChg>
      </pc:sldChg>
      <pc:sldChg chg="addSp delSp modSp new del">
        <pc:chgData name="Lars Ivar Hatledal" userId="da83bdda-499a-4427-8775-f375be339a54" providerId="ADAL" clId="{D4F7D428-4D3F-4D7F-A708-D669671558DA}" dt="2021-03-14T16:56:09.147" v="12381" actId="47"/>
        <pc:sldMkLst>
          <pc:docMk/>
          <pc:sldMk cId="715236935" sldId="536"/>
        </pc:sldMkLst>
        <pc:spChg chg="del">
          <ac:chgData name="Lars Ivar Hatledal" userId="da83bdda-499a-4427-8775-f375be339a54" providerId="ADAL" clId="{D4F7D428-4D3F-4D7F-A708-D669671558DA}" dt="2021-03-14T16:55:48.602" v="12376"/>
          <ac:spMkLst>
            <pc:docMk/>
            <pc:sldMk cId="715236935" sldId="536"/>
            <ac:spMk id="3" creationId="{CE814573-DE35-462C-811C-86A175E00293}"/>
          </ac:spMkLst>
        </pc:spChg>
        <pc:picChg chg="add mod">
          <ac:chgData name="Lars Ivar Hatledal" userId="da83bdda-499a-4427-8775-f375be339a54" providerId="ADAL" clId="{D4F7D428-4D3F-4D7F-A708-D669671558DA}" dt="2021-03-14T16:55:48.602" v="12376"/>
          <ac:picMkLst>
            <pc:docMk/>
            <pc:sldMk cId="715236935" sldId="536"/>
            <ac:picMk id="4" creationId="{A5FBF4AE-304B-439B-A038-95C3764CD2AE}"/>
          </ac:picMkLst>
        </pc:picChg>
      </pc:sldChg>
      <pc:sldChg chg="addSp delSp modSp add mod modNotesTx">
        <pc:chgData name="Lars Ivar Hatledal" userId="da83bdda-499a-4427-8775-f375be339a54" providerId="ADAL" clId="{D4F7D428-4D3F-4D7F-A708-D669671558DA}" dt="2021-03-18T21:15:20.769" v="26687" actId="20577"/>
        <pc:sldMkLst>
          <pc:docMk/>
          <pc:sldMk cId="1225024776" sldId="537"/>
        </pc:sldMkLst>
        <pc:spChg chg="mod">
          <ac:chgData name="Lars Ivar Hatledal" userId="da83bdda-499a-4427-8775-f375be339a54" providerId="ADAL" clId="{D4F7D428-4D3F-4D7F-A708-D669671558DA}" dt="2021-03-15T17:19:48.254" v="15052" actId="20577"/>
          <ac:spMkLst>
            <pc:docMk/>
            <pc:sldMk cId="1225024776" sldId="537"/>
            <ac:spMk id="28" creationId="{48703A56-96F6-4216-B29F-75E1A68FEBED}"/>
          </ac:spMkLst>
        </pc:spChg>
        <pc:spChg chg="mod">
          <ac:chgData name="Lars Ivar Hatledal" userId="da83bdda-499a-4427-8775-f375be339a54" providerId="ADAL" clId="{D4F7D428-4D3F-4D7F-A708-D669671558DA}" dt="2021-03-14T18:48:06.470" v="14706"/>
          <ac:spMkLst>
            <pc:docMk/>
            <pc:sldMk cId="1225024776" sldId="537"/>
            <ac:spMk id="48" creationId="{F4FB17E0-FEFF-4246-A80A-0158DDCF6DA2}"/>
          </ac:spMkLst>
        </pc:spChg>
        <pc:spChg chg="mod">
          <ac:chgData name="Lars Ivar Hatledal" userId="da83bdda-499a-4427-8775-f375be339a54" providerId="ADAL" clId="{D4F7D428-4D3F-4D7F-A708-D669671558DA}" dt="2021-03-14T18:48:06.470" v="14706"/>
          <ac:spMkLst>
            <pc:docMk/>
            <pc:sldMk cId="1225024776" sldId="537"/>
            <ac:spMk id="49" creationId="{E2874EAE-4479-4812-AD9F-ACFC3A856E05}"/>
          </ac:spMkLst>
        </pc:spChg>
        <pc:spChg chg="mod">
          <ac:chgData name="Lars Ivar Hatledal" userId="da83bdda-499a-4427-8775-f375be339a54" providerId="ADAL" clId="{D4F7D428-4D3F-4D7F-A708-D669671558DA}" dt="2021-03-14T18:48:06.470" v="14706"/>
          <ac:spMkLst>
            <pc:docMk/>
            <pc:sldMk cId="1225024776" sldId="537"/>
            <ac:spMk id="50" creationId="{184AB667-9A73-4677-AF2B-FA35FE50561F}"/>
          </ac:spMkLst>
        </pc:spChg>
        <pc:spChg chg="mod">
          <ac:chgData name="Lars Ivar Hatledal" userId="da83bdda-499a-4427-8775-f375be339a54" providerId="ADAL" clId="{D4F7D428-4D3F-4D7F-A708-D669671558DA}" dt="2021-03-14T18:48:06.470" v="14706"/>
          <ac:spMkLst>
            <pc:docMk/>
            <pc:sldMk cId="1225024776" sldId="537"/>
            <ac:spMk id="51" creationId="{B1CEFCEE-D627-43CF-A7E4-81DDBC175D84}"/>
          </ac:spMkLst>
        </pc:spChg>
        <pc:spChg chg="mod">
          <ac:chgData name="Lars Ivar Hatledal" userId="da83bdda-499a-4427-8775-f375be339a54" providerId="ADAL" clId="{D4F7D428-4D3F-4D7F-A708-D669671558DA}" dt="2021-03-14T18:48:06.470" v="14706"/>
          <ac:spMkLst>
            <pc:docMk/>
            <pc:sldMk cId="1225024776" sldId="537"/>
            <ac:spMk id="52" creationId="{B01C42B0-78F4-40F9-BADB-4ABF669E7155}"/>
          </ac:spMkLst>
        </pc:spChg>
        <pc:spChg chg="mod">
          <ac:chgData name="Lars Ivar Hatledal" userId="da83bdda-499a-4427-8775-f375be339a54" providerId="ADAL" clId="{D4F7D428-4D3F-4D7F-A708-D669671558DA}" dt="2021-03-14T18:48:06.470" v="14706"/>
          <ac:spMkLst>
            <pc:docMk/>
            <pc:sldMk cId="1225024776" sldId="537"/>
            <ac:spMk id="53" creationId="{C586B76E-62A7-47F0-8D2E-A87969DE5F6A}"/>
          </ac:spMkLst>
        </pc:spChg>
        <pc:spChg chg="mod">
          <ac:chgData name="Lars Ivar Hatledal" userId="da83bdda-499a-4427-8775-f375be339a54" providerId="ADAL" clId="{D4F7D428-4D3F-4D7F-A708-D669671558DA}" dt="2021-03-14T18:48:06.470" v="14706"/>
          <ac:spMkLst>
            <pc:docMk/>
            <pc:sldMk cId="1225024776" sldId="537"/>
            <ac:spMk id="54" creationId="{582DB972-CE76-44AA-AF5C-F32439C2B172}"/>
          </ac:spMkLst>
        </pc:spChg>
        <pc:spChg chg="mod">
          <ac:chgData name="Lars Ivar Hatledal" userId="da83bdda-499a-4427-8775-f375be339a54" providerId="ADAL" clId="{D4F7D428-4D3F-4D7F-A708-D669671558DA}" dt="2021-03-14T18:48:06.470" v="14706"/>
          <ac:spMkLst>
            <pc:docMk/>
            <pc:sldMk cId="1225024776" sldId="537"/>
            <ac:spMk id="55" creationId="{59683331-8D8F-471F-BF4C-D79253DACDAB}"/>
          </ac:spMkLst>
        </pc:spChg>
        <pc:spChg chg="mod">
          <ac:chgData name="Lars Ivar Hatledal" userId="da83bdda-499a-4427-8775-f375be339a54" providerId="ADAL" clId="{D4F7D428-4D3F-4D7F-A708-D669671558DA}" dt="2021-03-14T18:48:06.470" v="14706"/>
          <ac:spMkLst>
            <pc:docMk/>
            <pc:sldMk cId="1225024776" sldId="537"/>
            <ac:spMk id="56" creationId="{11B796B4-2C6B-4B3F-9433-F612C990F664}"/>
          </ac:spMkLst>
        </pc:spChg>
        <pc:spChg chg="mod">
          <ac:chgData name="Lars Ivar Hatledal" userId="da83bdda-499a-4427-8775-f375be339a54" providerId="ADAL" clId="{D4F7D428-4D3F-4D7F-A708-D669671558DA}" dt="2021-03-14T18:48:06.470" v="14706"/>
          <ac:spMkLst>
            <pc:docMk/>
            <pc:sldMk cId="1225024776" sldId="537"/>
            <ac:spMk id="57" creationId="{C35831EB-952B-4CBC-8D0B-14D4C133A57E}"/>
          </ac:spMkLst>
        </pc:spChg>
        <pc:grpChg chg="add mod">
          <ac:chgData name="Lars Ivar Hatledal" userId="da83bdda-499a-4427-8775-f375be339a54" providerId="ADAL" clId="{D4F7D428-4D3F-4D7F-A708-D669671558DA}" dt="2021-03-14T18:48:06.470" v="14706"/>
          <ac:grpSpMkLst>
            <pc:docMk/>
            <pc:sldMk cId="1225024776" sldId="537"/>
            <ac:grpSpMk id="24" creationId="{82D4257C-B51C-4612-9B4A-929DCE853C36}"/>
          </ac:grpSpMkLst>
        </pc:grpChg>
        <pc:grpChg chg="del">
          <ac:chgData name="Lars Ivar Hatledal" userId="da83bdda-499a-4427-8775-f375be339a54" providerId="ADAL" clId="{D4F7D428-4D3F-4D7F-A708-D669671558DA}" dt="2021-03-14T18:48:06.190" v="14705" actId="478"/>
          <ac:grpSpMkLst>
            <pc:docMk/>
            <pc:sldMk cId="1225024776" sldId="537"/>
            <ac:grpSpMk id="25" creationId="{0F9B27B9-640B-4A52-AAF6-8A48C7C5619E}"/>
          </ac:grpSpMkLst>
        </pc:grpChg>
        <pc:grpChg chg="mod">
          <ac:chgData name="Lars Ivar Hatledal" userId="da83bdda-499a-4427-8775-f375be339a54" providerId="ADAL" clId="{D4F7D428-4D3F-4D7F-A708-D669671558DA}" dt="2021-03-14T18:48:06.470" v="14706"/>
          <ac:grpSpMkLst>
            <pc:docMk/>
            <pc:sldMk cId="1225024776" sldId="537"/>
            <ac:grpSpMk id="43" creationId="{4AD7E7EA-4FB7-46ED-AF26-356D4A777F87}"/>
          </ac:grpSpMkLst>
        </pc:grpChg>
        <pc:grpChg chg="mod">
          <ac:chgData name="Lars Ivar Hatledal" userId="da83bdda-499a-4427-8775-f375be339a54" providerId="ADAL" clId="{D4F7D428-4D3F-4D7F-A708-D669671558DA}" dt="2021-03-14T18:48:06.470" v="14706"/>
          <ac:grpSpMkLst>
            <pc:docMk/>
            <pc:sldMk cId="1225024776" sldId="537"/>
            <ac:grpSpMk id="44" creationId="{5B41E3DD-B513-4689-9EC2-8A1C48574D68}"/>
          </ac:grpSpMkLst>
        </pc:grpChg>
        <pc:grpChg chg="mod">
          <ac:chgData name="Lars Ivar Hatledal" userId="da83bdda-499a-4427-8775-f375be339a54" providerId="ADAL" clId="{D4F7D428-4D3F-4D7F-A708-D669671558DA}" dt="2021-03-14T18:48:06.470" v="14706"/>
          <ac:grpSpMkLst>
            <pc:docMk/>
            <pc:sldMk cId="1225024776" sldId="537"/>
            <ac:grpSpMk id="45" creationId="{09BC5F8D-C9D7-4C23-AA06-21166A03E614}"/>
          </ac:grpSpMkLst>
        </pc:grpChg>
        <pc:grpChg chg="mod">
          <ac:chgData name="Lars Ivar Hatledal" userId="da83bdda-499a-4427-8775-f375be339a54" providerId="ADAL" clId="{D4F7D428-4D3F-4D7F-A708-D669671558DA}" dt="2021-03-14T18:48:06.470" v="14706"/>
          <ac:grpSpMkLst>
            <pc:docMk/>
            <pc:sldMk cId="1225024776" sldId="537"/>
            <ac:grpSpMk id="46" creationId="{46728CE0-5A0D-4A6B-B9E7-4D6B4E69E502}"/>
          </ac:grpSpMkLst>
        </pc:grpChg>
        <pc:grpChg chg="mod">
          <ac:chgData name="Lars Ivar Hatledal" userId="da83bdda-499a-4427-8775-f375be339a54" providerId="ADAL" clId="{D4F7D428-4D3F-4D7F-A708-D669671558DA}" dt="2021-03-14T18:48:06.470" v="14706"/>
          <ac:grpSpMkLst>
            <pc:docMk/>
            <pc:sldMk cId="1225024776" sldId="537"/>
            <ac:grpSpMk id="47" creationId="{98EDDCEB-0159-47E3-B5DD-73C8E9C840C1}"/>
          </ac:grpSpMkLst>
        </pc:grpChg>
        <pc:picChg chg="add mod">
          <ac:chgData name="Lars Ivar Hatledal" userId="da83bdda-499a-4427-8775-f375be339a54" providerId="ADAL" clId="{D4F7D428-4D3F-4D7F-A708-D669671558DA}" dt="2021-03-14T16:56:02.493" v="12380" actId="1076"/>
          <ac:picMkLst>
            <pc:docMk/>
            <pc:sldMk cId="1225024776" sldId="537"/>
            <ac:picMk id="2" creationId="{A1ACD10F-3BD0-4B4A-A110-40A81158B83B}"/>
          </ac:picMkLst>
        </pc:picChg>
        <pc:picChg chg="del">
          <ac:chgData name="Lars Ivar Hatledal" userId="da83bdda-499a-4427-8775-f375be339a54" providerId="ADAL" clId="{D4F7D428-4D3F-4D7F-A708-D669671558DA}" dt="2021-03-14T16:55:59.611" v="12378" actId="478"/>
          <ac:picMkLst>
            <pc:docMk/>
            <pc:sldMk cId="1225024776" sldId="537"/>
            <ac:picMk id="43" creationId="{38E628DF-93C7-493E-BC08-0B291E24BC9B}"/>
          </ac:picMkLst>
        </pc:picChg>
      </pc:sldChg>
      <pc:sldChg chg="new del">
        <pc:chgData name="Lars Ivar Hatledal" userId="da83bdda-499a-4427-8775-f375be339a54" providerId="ADAL" clId="{D4F7D428-4D3F-4D7F-A708-D669671558DA}" dt="2021-03-14T17:10:05.008" v="12580" actId="47"/>
        <pc:sldMkLst>
          <pc:docMk/>
          <pc:sldMk cId="3487285170" sldId="538"/>
        </pc:sldMkLst>
      </pc:sldChg>
      <pc:sldChg chg="addSp delSp modSp add mod ord modNotesTx">
        <pc:chgData name="Lars Ivar Hatledal" userId="da83bdda-499a-4427-8775-f375be339a54" providerId="ADAL" clId="{D4F7D428-4D3F-4D7F-A708-D669671558DA}" dt="2021-03-18T21:44:01.276" v="27380" actId="403"/>
        <pc:sldMkLst>
          <pc:docMk/>
          <pc:sldMk cId="1353464509" sldId="539"/>
        </pc:sldMkLst>
        <pc:spChg chg="mod">
          <ac:chgData name="Lars Ivar Hatledal" userId="da83bdda-499a-4427-8775-f375be339a54" providerId="ADAL" clId="{D4F7D428-4D3F-4D7F-A708-D669671558DA}" dt="2021-03-18T21:44:01.276" v="27380" actId="403"/>
          <ac:spMkLst>
            <pc:docMk/>
            <pc:sldMk cId="1353464509" sldId="539"/>
            <ac:spMk id="7" creationId="{63991A79-2DF5-4987-8986-F8B6237BF2C9}"/>
          </ac:spMkLst>
        </pc:spChg>
        <pc:spChg chg="mod">
          <ac:chgData name="Lars Ivar Hatledal" userId="da83bdda-499a-4427-8775-f375be339a54" providerId="ADAL" clId="{D4F7D428-4D3F-4D7F-A708-D669671558DA}" dt="2021-03-14T18:47:16.501" v="14683"/>
          <ac:spMkLst>
            <pc:docMk/>
            <pc:sldMk cId="1353464509" sldId="539"/>
            <ac:spMk id="31" creationId="{E2222744-D85C-43FC-BF3F-8D37C6DF3CD7}"/>
          </ac:spMkLst>
        </pc:spChg>
        <pc:spChg chg="mod">
          <ac:chgData name="Lars Ivar Hatledal" userId="da83bdda-499a-4427-8775-f375be339a54" providerId="ADAL" clId="{D4F7D428-4D3F-4D7F-A708-D669671558DA}" dt="2021-03-14T18:47:16.501" v="14683"/>
          <ac:spMkLst>
            <pc:docMk/>
            <pc:sldMk cId="1353464509" sldId="539"/>
            <ac:spMk id="32" creationId="{480350DA-16B2-4685-B6EA-CF650C2668EF}"/>
          </ac:spMkLst>
        </pc:spChg>
        <pc:spChg chg="mod">
          <ac:chgData name="Lars Ivar Hatledal" userId="da83bdda-499a-4427-8775-f375be339a54" providerId="ADAL" clId="{D4F7D428-4D3F-4D7F-A708-D669671558DA}" dt="2021-03-14T18:47:16.501" v="14683"/>
          <ac:spMkLst>
            <pc:docMk/>
            <pc:sldMk cId="1353464509" sldId="539"/>
            <ac:spMk id="33" creationId="{68BAB74A-2F66-40BA-8546-C9B08ACCB34E}"/>
          </ac:spMkLst>
        </pc:spChg>
        <pc:spChg chg="mod">
          <ac:chgData name="Lars Ivar Hatledal" userId="da83bdda-499a-4427-8775-f375be339a54" providerId="ADAL" clId="{D4F7D428-4D3F-4D7F-A708-D669671558DA}" dt="2021-03-14T18:47:16.501" v="14683"/>
          <ac:spMkLst>
            <pc:docMk/>
            <pc:sldMk cId="1353464509" sldId="539"/>
            <ac:spMk id="34" creationId="{C482F642-73EB-4DF4-B9E6-C9AD1E6F1E3E}"/>
          </ac:spMkLst>
        </pc:spChg>
        <pc:spChg chg="mod">
          <ac:chgData name="Lars Ivar Hatledal" userId="da83bdda-499a-4427-8775-f375be339a54" providerId="ADAL" clId="{D4F7D428-4D3F-4D7F-A708-D669671558DA}" dt="2021-03-16T07:46:17.954" v="17793"/>
          <ac:spMkLst>
            <pc:docMk/>
            <pc:sldMk cId="1353464509" sldId="539"/>
            <ac:spMk id="45" creationId="{ABE05CC7-87A9-4E18-AEA7-3CFE48FBF726}"/>
          </ac:spMkLst>
        </pc:spChg>
        <pc:spChg chg="mod">
          <ac:chgData name="Lars Ivar Hatledal" userId="da83bdda-499a-4427-8775-f375be339a54" providerId="ADAL" clId="{D4F7D428-4D3F-4D7F-A708-D669671558DA}" dt="2021-03-14T18:47:16.501" v="14683"/>
          <ac:spMkLst>
            <pc:docMk/>
            <pc:sldMk cId="1353464509" sldId="539"/>
            <ac:spMk id="53" creationId="{6E8471C7-60FB-4A1F-A29E-A87639320D04}"/>
          </ac:spMkLst>
        </pc:spChg>
        <pc:spChg chg="mod">
          <ac:chgData name="Lars Ivar Hatledal" userId="da83bdda-499a-4427-8775-f375be339a54" providerId="ADAL" clId="{D4F7D428-4D3F-4D7F-A708-D669671558DA}" dt="2021-03-14T18:47:16.501" v="14683"/>
          <ac:spMkLst>
            <pc:docMk/>
            <pc:sldMk cId="1353464509" sldId="539"/>
            <ac:spMk id="54" creationId="{F002EAA4-1303-440B-A845-E2CCDEFBEC14}"/>
          </ac:spMkLst>
        </pc:spChg>
        <pc:spChg chg="mod">
          <ac:chgData name="Lars Ivar Hatledal" userId="da83bdda-499a-4427-8775-f375be339a54" providerId="ADAL" clId="{D4F7D428-4D3F-4D7F-A708-D669671558DA}" dt="2021-03-14T18:47:16.501" v="14683"/>
          <ac:spMkLst>
            <pc:docMk/>
            <pc:sldMk cId="1353464509" sldId="539"/>
            <ac:spMk id="55" creationId="{A2DDEFE3-68E6-4C61-93B1-1A1ED968D9CE}"/>
          </ac:spMkLst>
        </pc:spChg>
        <pc:spChg chg="mod">
          <ac:chgData name="Lars Ivar Hatledal" userId="da83bdda-499a-4427-8775-f375be339a54" providerId="ADAL" clId="{D4F7D428-4D3F-4D7F-A708-D669671558DA}" dt="2021-03-14T18:47:16.501" v="14683"/>
          <ac:spMkLst>
            <pc:docMk/>
            <pc:sldMk cId="1353464509" sldId="539"/>
            <ac:spMk id="56" creationId="{91F172D9-461E-45D9-8683-C9781567F65F}"/>
          </ac:spMkLst>
        </pc:spChg>
        <pc:spChg chg="mod">
          <ac:chgData name="Lars Ivar Hatledal" userId="da83bdda-499a-4427-8775-f375be339a54" providerId="ADAL" clId="{D4F7D428-4D3F-4D7F-A708-D669671558DA}" dt="2021-03-14T18:47:16.501" v="14683"/>
          <ac:spMkLst>
            <pc:docMk/>
            <pc:sldMk cId="1353464509" sldId="539"/>
            <ac:spMk id="57" creationId="{AC53F88F-A22A-4DC1-90CA-59E2056FF25D}"/>
          </ac:spMkLst>
        </pc:spChg>
        <pc:spChg chg="del mod">
          <ac:chgData name="Lars Ivar Hatledal" userId="da83bdda-499a-4427-8775-f375be339a54" providerId="ADAL" clId="{D4F7D428-4D3F-4D7F-A708-D669671558DA}" dt="2021-03-14T18:47:22.315" v="14687" actId="478"/>
          <ac:spMkLst>
            <pc:docMk/>
            <pc:sldMk cId="1353464509" sldId="539"/>
            <ac:spMk id="58" creationId="{373FA35B-6D5C-46C0-A306-5A5207D86286}"/>
          </ac:spMkLst>
        </pc:spChg>
        <pc:spChg chg="mod">
          <ac:chgData name="Lars Ivar Hatledal" userId="da83bdda-499a-4427-8775-f375be339a54" providerId="ADAL" clId="{D4F7D428-4D3F-4D7F-A708-D669671558DA}" dt="2021-03-14T18:47:19.092" v="14685"/>
          <ac:spMkLst>
            <pc:docMk/>
            <pc:sldMk cId="1353464509" sldId="539"/>
            <ac:spMk id="66" creationId="{3089687B-AC6E-4818-9B81-2FC3843F7DD8}"/>
          </ac:spMkLst>
        </pc:spChg>
        <pc:spChg chg="mod">
          <ac:chgData name="Lars Ivar Hatledal" userId="da83bdda-499a-4427-8775-f375be339a54" providerId="ADAL" clId="{D4F7D428-4D3F-4D7F-A708-D669671558DA}" dt="2021-03-14T18:47:19.092" v="14685"/>
          <ac:spMkLst>
            <pc:docMk/>
            <pc:sldMk cId="1353464509" sldId="539"/>
            <ac:spMk id="67" creationId="{F11AE2B3-1B1A-4B16-A704-09B76DF9700D}"/>
          </ac:spMkLst>
        </pc:spChg>
        <pc:spChg chg="mod">
          <ac:chgData name="Lars Ivar Hatledal" userId="da83bdda-499a-4427-8775-f375be339a54" providerId="ADAL" clId="{D4F7D428-4D3F-4D7F-A708-D669671558DA}" dt="2021-03-14T18:47:19.092" v="14685"/>
          <ac:spMkLst>
            <pc:docMk/>
            <pc:sldMk cId="1353464509" sldId="539"/>
            <ac:spMk id="68" creationId="{F39A573B-94C2-4C2F-A790-EF76CBDACB74}"/>
          </ac:spMkLst>
        </pc:spChg>
        <pc:spChg chg="mod">
          <ac:chgData name="Lars Ivar Hatledal" userId="da83bdda-499a-4427-8775-f375be339a54" providerId="ADAL" clId="{D4F7D428-4D3F-4D7F-A708-D669671558DA}" dt="2021-03-14T18:47:19.092" v="14685"/>
          <ac:spMkLst>
            <pc:docMk/>
            <pc:sldMk cId="1353464509" sldId="539"/>
            <ac:spMk id="69" creationId="{8586FE35-71CD-4A9D-ADC7-E8FFC59E769A}"/>
          </ac:spMkLst>
        </pc:spChg>
        <pc:spChg chg="mod">
          <ac:chgData name="Lars Ivar Hatledal" userId="da83bdda-499a-4427-8775-f375be339a54" providerId="ADAL" clId="{D4F7D428-4D3F-4D7F-A708-D669671558DA}" dt="2021-03-14T18:47:19.092" v="14685"/>
          <ac:spMkLst>
            <pc:docMk/>
            <pc:sldMk cId="1353464509" sldId="539"/>
            <ac:spMk id="70" creationId="{BB04E6E0-EFA0-41E9-8D98-CC7BAA89C0D0}"/>
          </ac:spMkLst>
        </pc:spChg>
        <pc:spChg chg="mod">
          <ac:chgData name="Lars Ivar Hatledal" userId="da83bdda-499a-4427-8775-f375be339a54" providerId="ADAL" clId="{D4F7D428-4D3F-4D7F-A708-D669671558DA}" dt="2021-03-14T18:47:19.092" v="14685"/>
          <ac:spMkLst>
            <pc:docMk/>
            <pc:sldMk cId="1353464509" sldId="539"/>
            <ac:spMk id="71" creationId="{1353B9A7-6AEE-4FE1-ABC8-1C2397FEB7B3}"/>
          </ac:spMkLst>
        </pc:spChg>
        <pc:spChg chg="mod">
          <ac:chgData name="Lars Ivar Hatledal" userId="da83bdda-499a-4427-8775-f375be339a54" providerId="ADAL" clId="{D4F7D428-4D3F-4D7F-A708-D669671558DA}" dt="2021-03-14T18:47:19.092" v="14685"/>
          <ac:spMkLst>
            <pc:docMk/>
            <pc:sldMk cId="1353464509" sldId="539"/>
            <ac:spMk id="72" creationId="{C27B1D6B-5C66-4A29-B9BA-925E3BDCCEB0}"/>
          </ac:spMkLst>
        </pc:spChg>
        <pc:spChg chg="mod">
          <ac:chgData name="Lars Ivar Hatledal" userId="da83bdda-499a-4427-8775-f375be339a54" providerId="ADAL" clId="{D4F7D428-4D3F-4D7F-A708-D669671558DA}" dt="2021-03-14T18:47:19.092" v="14685"/>
          <ac:spMkLst>
            <pc:docMk/>
            <pc:sldMk cId="1353464509" sldId="539"/>
            <ac:spMk id="73" creationId="{FED09668-E2DC-45EA-9214-A9557B56F15D}"/>
          </ac:spMkLst>
        </pc:spChg>
        <pc:spChg chg="mod">
          <ac:chgData name="Lars Ivar Hatledal" userId="da83bdda-499a-4427-8775-f375be339a54" providerId="ADAL" clId="{D4F7D428-4D3F-4D7F-A708-D669671558DA}" dt="2021-03-14T18:47:19.092" v="14685"/>
          <ac:spMkLst>
            <pc:docMk/>
            <pc:sldMk cId="1353464509" sldId="539"/>
            <ac:spMk id="74" creationId="{A4303E62-D426-469D-A3E5-58EEF61413DF}"/>
          </ac:spMkLst>
        </pc:spChg>
        <pc:spChg chg="mod">
          <ac:chgData name="Lars Ivar Hatledal" userId="da83bdda-499a-4427-8775-f375be339a54" providerId="ADAL" clId="{D4F7D428-4D3F-4D7F-A708-D669671558DA}" dt="2021-03-14T18:47:19.092" v="14685"/>
          <ac:spMkLst>
            <pc:docMk/>
            <pc:sldMk cId="1353464509" sldId="539"/>
            <ac:spMk id="75" creationId="{5AA83ADA-91BB-4AD2-9BA4-D6AE483EC6DF}"/>
          </ac:spMkLst>
        </pc:spChg>
        <pc:spChg chg="mod">
          <ac:chgData name="Lars Ivar Hatledal" userId="da83bdda-499a-4427-8775-f375be339a54" providerId="ADAL" clId="{D4F7D428-4D3F-4D7F-A708-D669671558DA}" dt="2021-03-14T18:47:24.230" v="14689"/>
          <ac:spMkLst>
            <pc:docMk/>
            <pc:sldMk cId="1353464509" sldId="539"/>
            <ac:spMk id="82" creationId="{64F60809-AD28-4EB9-8B9A-761782B855B1}"/>
          </ac:spMkLst>
        </pc:spChg>
        <pc:spChg chg="mod">
          <ac:chgData name="Lars Ivar Hatledal" userId="da83bdda-499a-4427-8775-f375be339a54" providerId="ADAL" clId="{D4F7D428-4D3F-4D7F-A708-D669671558DA}" dt="2021-03-14T18:47:24.230" v="14689"/>
          <ac:spMkLst>
            <pc:docMk/>
            <pc:sldMk cId="1353464509" sldId="539"/>
            <ac:spMk id="83" creationId="{037F92D1-DC72-4E16-B22F-D35FFF33C820}"/>
          </ac:spMkLst>
        </pc:spChg>
        <pc:spChg chg="mod">
          <ac:chgData name="Lars Ivar Hatledal" userId="da83bdda-499a-4427-8775-f375be339a54" providerId="ADAL" clId="{D4F7D428-4D3F-4D7F-A708-D669671558DA}" dt="2021-03-14T18:47:24.230" v="14689"/>
          <ac:spMkLst>
            <pc:docMk/>
            <pc:sldMk cId="1353464509" sldId="539"/>
            <ac:spMk id="84" creationId="{3067AB49-7642-4D62-9215-49D8A78445F8}"/>
          </ac:spMkLst>
        </pc:spChg>
        <pc:spChg chg="mod">
          <ac:chgData name="Lars Ivar Hatledal" userId="da83bdda-499a-4427-8775-f375be339a54" providerId="ADAL" clId="{D4F7D428-4D3F-4D7F-A708-D669671558DA}" dt="2021-03-14T18:47:24.230" v="14689"/>
          <ac:spMkLst>
            <pc:docMk/>
            <pc:sldMk cId="1353464509" sldId="539"/>
            <ac:spMk id="85" creationId="{D6E62AE7-BB8B-4F73-AB2B-7C7FD1D7CF8C}"/>
          </ac:spMkLst>
        </pc:spChg>
        <pc:spChg chg="mod">
          <ac:chgData name="Lars Ivar Hatledal" userId="da83bdda-499a-4427-8775-f375be339a54" providerId="ADAL" clId="{D4F7D428-4D3F-4D7F-A708-D669671558DA}" dt="2021-03-14T18:47:24.230" v="14689"/>
          <ac:spMkLst>
            <pc:docMk/>
            <pc:sldMk cId="1353464509" sldId="539"/>
            <ac:spMk id="86" creationId="{A0E59E2D-EF0B-4298-A911-DE5557CDBAC4}"/>
          </ac:spMkLst>
        </pc:spChg>
        <pc:spChg chg="mod">
          <ac:chgData name="Lars Ivar Hatledal" userId="da83bdda-499a-4427-8775-f375be339a54" providerId="ADAL" clId="{D4F7D428-4D3F-4D7F-A708-D669671558DA}" dt="2021-03-14T18:47:24.230" v="14689"/>
          <ac:spMkLst>
            <pc:docMk/>
            <pc:sldMk cId="1353464509" sldId="539"/>
            <ac:spMk id="87" creationId="{176F730B-E04C-4705-9C35-7BEE9A657C81}"/>
          </ac:spMkLst>
        </pc:spChg>
        <pc:spChg chg="mod">
          <ac:chgData name="Lars Ivar Hatledal" userId="da83bdda-499a-4427-8775-f375be339a54" providerId="ADAL" clId="{D4F7D428-4D3F-4D7F-A708-D669671558DA}" dt="2021-03-14T18:47:24.230" v="14689"/>
          <ac:spMkLst>
            <pc:docMk/>
            <pc:sldMk cId="1353464509" sldId="539"/>
            <ac:spMk id="88" creationId="{06219AF1-4C4B-4280-BD1B-A7D6ACD4CBC7}"/>
          </ac:spMkLst>
        </pc:spChg>
        <pc:spChg chg="mod">
          <ac:chgData name="Lars Ivar Hatledal" userId="da83bdda-499a-4427-8775-f375be339a54" providerId="ADAL" clId="{D4F7D428-4D3F-4D7F-A708-D669671558DA}" dt="2021-03-14T18:47:24.230" v="14689"/>
          <ac:spMkLst>
            <pc:docMk/>
            <pc:sldMk cId="1353464509" sldId="539"/>
            <ac:spMk id="89" creationId="{0875FDB6-CC3E-472B-82A4-3CB2E78D27EC}"/>
          </ac:spMkLst>
        </pc:spChg>
        <pc:spChg chg="mod">
          <ac:chgData name="Lars Ivar Hatledal" userId="da83bdda-499a-4427-8775-f375be339a54" providerId="ADAL" clId="{D4F7D428-4D3F-4D7F-A708-D669671558DA}" dt="2021-03-14T18:47:24.230" v="14689"/>
          <ac:spMkLst>
            <pc:docMk/>
            <pc:sldMk cId="1353464509" sldId="539"/>
            <ac:spMk id="90" creationId="{4F10C43F-6BD8-4EB5-A800-7C42E22DFEDF}"/>
          </ac:spMkLst>
        </pc:spChg>
        <pc:spChg chg="mod">
          <ac:chgData name="Lars Ivar Hatledal" userId="da83bdda-499a-4427-8775-f375be339a54" providerId="ADAL" clId="{D4F7D428-4D3F-4D7F-A708-D669671558DA}" dt="2021-03-14T18:47:24.230" v="14689"/>
          <ac:spMkLst>
            <pc:docMk/>
            <pc:sldMk cId="1353464509" sldId="539"/>
            <ac:spMk id="91" creationId="{BF8E3203-A77A-4C46-B784-B4B06D8E7AB1}"/>
          </ac:spMkLst>
        </pc:spChg>
        <pc:grpChg chg="del">
          <ac:chgData name="Lars Ivar Hatledal" userId="da83bdda-499a-4427-8775-f375be339a54" providerId="ADAL" clId="{D4F7D428-4D3F-4D7F-A708-D669671558DA}" dt="2021-03-14T18:47:16.171" v="14682" actId="478"/>
          <ac:grpSpMkLst>
            <pc:docMk/>
            <pc:sldMk cId="1353464509" sldId="539"/>
            <ac:grpSpMk id="2" creationId="{FB0E3E3F-4D6E-4365-B8D1-477E1C1440EC}"/>
          </ac:grpSpMkLst>
        </pc:grpChg>
        <pc:grpChg chg="add del mod">
          <ac:chgData name="Lars Ivar Hatledal" userId="da83bdda-499a-4427-8775-f375be339a54" providerId="ADAL" clId="{D4F7D428-4D3F-4D7F-A708-D669671558DA}" dt="2021-03-14T18:47:23.790" v="14688" actId="478"/>
          <ac:grpSpMkLst>
            <pc:docMk/>
            <pc:sldMk cId="1353464509" sldId="539"/>
            <ac:grpSpMk id="25" creationId="{124A69FB-D225-44AD-9DEB-2AD62BE91BC1}"/>
          </ac:grpSpMkLst>
        </pc:grpChg>
        <pc:grpChg chg="del mod">
          <ac:chgData name="Lars Ivar Hatledal" userId="da83bdda-499a-4427-8775-f375be339a54" providerId="ADAL" clId="{D4F7D428-4D3F-4D7F-A708-D669671558DA}" dt="2021-03-14T18:47:22.315" v="14687" actId="478"/>
          <ac:grpSpMkLst>
            <pc:docMk/>
            <pc:sldMk cId="1353464509" sldId="539"/>
            <ac:grpSpMk id="26" creationId="{75771871-46D2-4F2E-B3E6-2BC911AE9132}"/>
          </ac:grpSpMkLst>
        </pc:grpChg>
        <pc:grpChg chg="mod">
          <ac:chgData name="Lars Ivar Hatledal" userId="da83bdda-499a-4427-8775-f375be339a54" providerId="ADAL" clId="{D4F7D428-4D3F-4D7F-A708-D669671558DA}" dt="2021-03-14T18:47:16.501" v="14683"/>
          <ac:grpSpMkLst>
            <pc:docMk/>
            <pc:sldMk cId="1353464509" sldId="539"/>
            <ac:grpSpMk id="27" creationId="{AA9DE393-E9C0-48A4-AB83-3F6B4ED43953}"/>
          </ac:grpSpMkLst>
        </pc:grpChg>
        <pc:grpChg chg="mod">
          <ac:chgData name="Lars Ivar Hatledal" userId="da83bdda-499a-4427-8775-f375be339a54" providerId="ADAL" clId="{D4F7D428-4D3F-4D7F-A708-D669671558DA}" dt="2021-03-14T18:47:16.501" v="14683"/>
          <ac:grpSpMkLst>
            <pc:docMk/>
            <pc:sldMk cId="1353464509" sldId="539"/>
            <ac:grpSpMk id="28" creationId="{93094AFC-CD7D-4A62-A5CD-9F2A393975CA}"/>
          </ac:grpSpMkLst>
        </pc:grpChg>
        <pc:grpChg chg="mod">
          <ac:chgData name="Lars Ivar Hatledal" userId="da83bdda-499a-4427-8775-f375be339a54" providerId="ADAL" clId="{D4F7D428-4D3F-4D7F-A708-D669671558DA}" dt="2021-03-14T18:47:16.501" v="14683"/>
          <ac:grpSpMkLst>
            <pc:docMk/>
            <pc:sldMk cId="1353464509" sldId="539"/>
            <ac:grpSpMk id="29" creationId="{34E7A394-DD03-4E8D-94EA-FB99FB64E4F0}"/>
          </ac:grpSpMkLst>
        </pc:grpChg>
        <pc:grpChg chg="mod">
          <ac:chgData name="Lars Ivar Hatledal" userId="da83bdda-499a-4427-8775-f375be339a54" providerId="ADAL" clId="{D4F7D428-4D3F-4D7F-A708-D669671558DA}" dt="2021-03-14T18:47:16.501" v="14683"/>
          <ac:grpSpMkLst>
            <pc:docMk/>
            <pc:sldMk cId="1353464509" sldId="539"/>
            <ac:grpSpMk id="30" creationId="{B2B21B02-AE03-4639-8103-AA39011B7550}"/>
          </ac:grpSpMkLst>
        </pc:grpChg>
        <pc:grpChg chg="add del mod">
          <ac:chgData name="Lars Ivar Hatledal" userId="da83bdda-499a-4427-8775-f375be339a54" providerId="ADAL" clId="{D4F7D428-4D3F-4D7F-A708-D669671558DA}" dt="2021-03-14T18:47:20.531" v="14686"/>
          <ac:grpSpMkLst>
            <pc:docMk/>
            <pc:sldMk cId="1353464509" sldId="539"/>
            <ac:grpSpMk id="59" creationId="{6E853A75-B7A5-4BA9-AEB2-6B08429CC938}"/>
          </ac:grpSpMkLst>
        </pc:grpChg>
        <pc:grpChg chg="mod">
          <ac:chgData name="Lars Ivar Hatledal" userId="da83bdda-499a-4427-8775-f375be339a54" providerId="ADAL" clId="{D4F7D428-4D3F-4D7F-A708-D669671558DA}" dt="2021-03-14T18:47:19.092" v="14685"/>
          <ac:grpSpMkLst>
            <pc:docMk/>
            <pc:sldMk cId="1353464509" sldId="539"/>
            <ac:grpSpMk id="60" creationId="{E861E05F-FC8C-4AB9-96FC-AEA958B340C1}"/>
          </ac:grpSpMkLst>
        </pc:grpChg>
        <pc:grpChg chg="mod">
          <ac:chgData name="Lars Ivar Hatledal" userId="da83bdda-499a-4427-8775-f375be339a54" providerId="ADAL" clId="{D4F7D428-4D3F-4D7F-A708-D669671558DA}" dt="2021-03-14T18:47:19.092" v="14685"/>
          <ac:grpSpMkLst>
            <pc:docMk/>
            <pc:sldMk cId="1353464509" sldId="539"/>
            <ac:grpSpMk id="61" creationId="{E8998846-44F3-4290-84E5-DD3126D76731}"/>
          </ac:grpSpMkLst>
        </pc:grpChg>
        <pc:grpChg chg="mod">
          <ac:chgData name="Lars Ivar Hatledal" userId="da83bdda-499a-4427-8775-f375be339a54" providerId="ADAL" clId="{D4F7D428-4D3F-4D7F-A708-D669671558DA}" dt="2021-03-14T18:47:19.092" v="14685"/>
          <ac:grpSpMkLst>
            <pc:docMk/>
            <pc:sldMk cId="1353464509" sldId="539"/>
            <ac:grpSpMk id="62" creationId="{BA9D28F7-2B0F-4382-A0D3-2E2E6A1AE70D}"/>
          </ac:grpSpMkLst>
        </pc:grpChg>
        <pc:grpChg chg="mod">
          <ac:chgData name="Lars Ivar Hatledal" userId="da83bdda-499a-4427-8775-f375be339a54" providerId="ADAL" clId="{D4F7D428-4D3F-4D7F-A708-D669671558DA}" dt="2021-03-14T18:47:19.092" v="14685"/>
          <ac:grpSpMkLst>
            <pc:docMk/>
            <pc:sldMk cId="1353464509" sldId="539"/>
            <ac:grpSpMk id="63" creationId="{51C34CEB-2CD8-4424-9C99-F55BB4071A11}"/>
          </ac:grpSpMkLst>
        </pc:grpChg>
        <pc:grpChg chg="mod">
          <ac:chgData name="Lars Ivar Hatledal" userId="da83bdda-499a-4427-8775-f375be339a54" providerId="ADAL" clId="{D4F7D428-4D3F-4D7F-A708-D669671558DA}" dt="2021-03-14T18:47:19.092" v="14685"/>
          <ac:grpSpMkLst>
            <pc:docMk/>
            <pc:sldMk cId="1353464509" sldId="539"/>
            <ac:grpSpMk id="65" creationId="{7E3D4E0B-7A3A-45E3-A5B0-58623FC7CF4A}"/>
          </ac:grpSpMkLst>
        </pc:grpChg>
        <pc:grpChg chg="add mod">
          <ac:chgData name="Lars Ivar Hatledal" userId="da83bdda-499a-4427-8775-f375be339a54" providerId="ADAL" clId="{D4F7D428-4D3F-4D7F-A708-D669671558DA}" dt="2021-03-14T18:47:24.230" v="14689"/>
          <ac:grpSpMkLst>
            <pc:docMk/>
            <pc:sldMk cId="1353464509" sldId="539"/>
            <ac:grpSpMk id="76" creationId="{E94368C8-011E-44CE-A105-66EFFEE62DE1}"/>
          </ac:grpSpMkLst>
        </pc:grpChg>
        <pc:grpChg chg="mod">
          <ac:chgData name="Lars Ivar Hatledal" userId="da83bdda-499a-4427-8775-f375be339a54" providerId="ADAL" clId="{D4F7D428-4D3F-4D7F-A708-D669671558DA}" dt="2021-03-14T18:47:24.230" v="14689"/>
          <ac:grpSpMkLst>
            <pc:docMk/>
            <pc:sldMk cId="1353464509" sldId="539"/>
            <ac:grpSpMk id="77" creationId="{A94C151C-0EEC-407D-BCA2-2044ABD26FDB}"/>
          </ac:grpSpMkLst>
        </pc:grpChg>
        <pc:grpChg chg="mod">
          <ac:chgData name="Lars Ivar Hatledal" userId="da83bdda-499a-4427-8775-f375be339a54" providerId="ADAL" clId="{D4F7D428-4D3F-4D7F-A708-D669671558DA}" dt="2021-03-14T18:47:24.230" v="14689"/>
          <ac:grpSpMkLst>
            <pc:docMk/>
            <pc:sldMk cId="1353464509" sldId="539"/>
            <ac:grpSpMk id="78" creationId="{409E22D8-682F-4B4E-BEEF-52C916BBBECF}"/>
          </ac:grpSpMkLst>
        </pc:grpChg>
        <pc:grpChg chg="mod">
          <ac:chgData name="Lars Ivar Hatledal" userId="da83bdda-499a-4427-8775-f375be339a54" providerId="ADAL" clId="{D4F7D428-4D3F-4D7F-A708-D669671558DA}" dt="2021-03-14T18:47:24.230" v="14689"/>
          <ac:grpSpMkLst>
            <pc:docMk/>
            <pc:sldMk cId="1353464509" sldId="539"/>
            <ac:grpSpMk id="79" creationId="{097458BE-2FD1-49FD-A421-8BD5857B7724}"/>
          </ac:grpSpMkLst>
        </pc:grpChg>
        <pc:grpChg chg="mod">
          <ac:chgData name="Lars Ivar Hatledal" userId="da83bdda-499a-4427-8775-f375be339a54" providerId="ADAL" clId="{D4F7D428-4D3F-4D7F-A708-D669671558DA}" dt="2021-03-14T18:47:24.230" v="14689"/>
          <ac:grpSpMkLst>
            <pc:docMk/>
            <pc:sldMk cId="1353464509" sldId="539"/>
            <ac:grpSpMk id="80" creationId="{2007315D-C50A-496A-B405-FD5AE96FEF15}"/>
          </ac:grpSpMkLst>
        </pc:grpChg>
        <pc:grpChg chg="mod">
          <ac:chgData name="Lars Ivar Hatledal" userId="da83bdda-499a-4427-8775-f375be339a54" providerId="ADAL" clId="{D4F7D428-4D3F-4D7F-A708-D669671558DA}" dt="2021-03-14T18:47:24.230" v="14689"/>
          <ac:grpSpMkLst>
            <pc:docMk/>
            <pc:sldMk cId="1353464509" sldId="539"/>
            <ac:grpSpMk id="81" creationId="{0E000182-96B4-4266-9D3E-B8B4290AABD8}"/>
          </ac:grpSpMkLst>
        </pc:grpChg>
        <pc:picChg chg="add del mod">
          <ac:chgData name="Lars Ivar Hatledal" userId="da83bdda-499a-4427-8775-f375be339a54" providerId="ADAL" clId="{D4F7D428-4D3F-4D7F-A708-D669671558DA}" dt="2021-03-14T18:07:14.713" v="13522" actId="478"/>
          <ac:picMkLst>
            <pc:docMk/>
            <pc:sldMk cId="1353464509" sldId="539"/>
            <ac:picMk id="3" creationId="{6244319C-90A0-472D-893F-E7376EBA741B}"/>
          </ac:picMkLst>
        </pc:picChg>
        <pc:picChg chg="add del mod">
          <ac:chgData name="Lars Ivar Hatledal" userId="da83bdda-499a-4427-8775-f375be339a54" providerId="ADAL" clId="{D4F7D428-4D3F-4D7F-A708-D669671558DA}" dt="2021-03-15T17:22:20.314" v="15107" actId="478"/>
          <ac:picMkLst>
            <pc:docMk/>
            <pc:sldMk cId="1353464509" sldId="539"/>
            <ac:picMk id="24" creationId="{1DCAF517-290C-4B9A-BF40-827866B9EB0E}"/>
          </ac:picMkLst>
        </pc:picChg>
        <pc:picChg chg="mod">
          <ac:chgData name="Lars Ivar Hatledal" userId="da83bdda-499a-4427-8775-f375be339a54" providerId="ADAL" clId="{D4F7D428-4D3F-4D7F-A708-D669671558DA}" dt="2021-03-18T21:38:36.815" v="27353" actId="14100"/>
          <ac:picMkLst>
            <pc:docMk/>
            <pc:sldMk cId="1353464509" sldId="539"/>
            <ac:picMk id="24" creationId="{F45113E7-DD34-4D0D-A470-FC10859F5F17}"/>
          </ac:picMkLst>
        </pc:picChg>
        <pc:picChg chg="add del mod">
          <ac:chgData name="Lars Ivar Hatledal" userId="da83bdda-499a-4427-8775-f375be339a54" providerId="ADAL" clId="{D4F7D428-4D3F-4D7F-A708-D669671558DA}" dt="2021-03-15T17:48:47.020" v="17010" actId="478"/>
          <ac:picMkLst>
            <pc:docMk/>
            <pc:sldMk cId="1353464509" sldId="539"/>
            <ac:picMk id="25" creationId="{926F44BB-465B-4F2D-B51C-749D04A3C0E7}"/>
          </ac:picMkLst>
        </pc:picChg>
      </pc:sldChg>
      <pc:sldChg chg="modSp add mod">
        <pc:chgData name="Lars Ivar Hatledal" userId="da83bdda-499a-4427-8775-f375be339a54" providerId="ADAL" clId="{D4F7D428-4D3F-4D7F-A708-D669671558DA}" dt="2021-03-14T18:24:40.692" v="14300" actId="14100"/>
        <pc:sldMkLst>
          <pc:docMk/>
          <pc:sldMk cId="31436401" sldId="540"/>
        </pc:sldMkLst>
        <pc:spChg chg="mod">
          <ac:chgData name="Lars Ivar Hatledal" userId="da83bdda-499a-4427-8775-f375be339a54" providerId="ADAL" clId="{D4F7D428-4D3F-4D7F-A708-D669671558DA}" dt="2021-03-14T18:24:40.692" v="14300" actId="14100"/>
          <ac:spMkLst>
            <pc:docMk/>
            <pc:sldMk cId="31436401" sldId="540"/>
            <ac:spMk id="7" creationId="{63991A79-2DF5-4987-8986-F8B6237BF2C9}"/>
          </ac:spMkLst>
        </pc:spChg>
        <pc:spChg chg="mod">
          <ac:chgData name="Lars Ivar Hatledal" userId="da83bdda-499a-4427-8775-f375be339a54" providerId="ADAL" clId="{D4F7D428-4D3F-4D7F-A708-D669671558DA}" dt="2021-03-14T18:13:14.374" v="13616" actId="20577"/>
          <ac:spMkLst>
            <pc:docMk/>
            <pc:sldMk cId="31436401" sldId="540"/>
            <ac:spMk id="45" creationId="{ABE05CC7-87A9-4E18-AEA7-3CFE48FBF726}"/>
          </ac:spMkLst>
        </pc:spChg>
      </pc:sldChg>
      <pc:sldChg chg="addSp modSp add del mod ord">
        <pc:chgData name="Lars Ivar Hatledal" userId="da83bdda-499a-4427-8775-f375be339a54" providerId="ADAL" clId="{D4F7D428-4D3F-4D7F-A708-D669671558DA}" dt="2021-03-14T17:55:49.612" v="13242" actId="47"/>
        <pc:sldMkLst>
          <pc:docMk/>
          <pc:sldMk cId="1647086892" sldId="540"/>
        </pc:sldMkLst>
        <pc:spChg chg="mod">
          <ac:chgData name="Lars Ivar Hatledal" userId="da83bdda-499a-4427-8775-f375be339a54" providerId="ADAL" clId="{D4F7D428-4D3F-4D7F-A708-D669671558DA}" dt="2021-03-14T17:55:11.419" v="13235" actId="20577"/>
          <ac:spMkLst>
            <pc:docMk/>
            <pc:sldMk cId="1647086892" sldId="540"/>
            <ac:spMk id="7" creationId="{63991A79-2DF5-4987-8986-F8B6237BF2C9}"/>
          </ac:spMkLst>
        </pc:spChg>
        <pc:spChg chg="mod">
          <ac:chgData name="Lars Ivar Hatledal" userId="da83bdda-499a-4427-8775-f375be339a54" providerId="ADAL" clId="{D4F7D428-4D3F-4D7F-A708-D669671558DA}" dt="2021-03-14T17:55:43.307" v="13241" actId="20577"/>
          <ac:spMkLst>
            <pc:docMk/>
            <pc:sldMk cId="1647086892" sldId="540"/>
            <ac:spMk id="45" creationId="{ABE05CC7-87A9-4E18-AEA7-3CFE48FBF726}"/>
          </ac:spMkLst>
        </pc:spChg>
        <pc:picChg chg="add mod">
          <ac:chgData name="Lars Ivar Hatledal" userId="da83bdda-499a-4427-8775-f375be339a54" providerId="ADAL" clId="{D4F7D428-4D3F-4D7F-A708-D669671558DA}" dt="2021-03-14T17:53:27.171" v="13149" actId="14100"/>
          <ac:picMkLst>
            <pc:docMk/>
            <pc:sldMk cId="1647086892" sldId="540"/>
            <ac:picMk id="3" creationId="{026480AE-C7E7-4114-B95C-04DCCE98A203}"/>
          </ac:picMkLst>
        </pc:picChg>
      </pc:sldChg>
      <pc:sldChg chg="addSp delSp modSp add mod modNotesTx">
        <pc:chgData name="Lars Ivar Hatledal" userId="da83bdda-499a-4427-8775-f375be339a54" providerId="ADAL" clId="{D4F7D428-4D3F-4D7F-A708-D669671558DA}" dt="2021-03-18T21:47:25.210" v="27385" actId="404"/>
        <pc:sldMkLst>
          <pc:docMk/>
          <pc:sldMk cId="912018181" sldId="541"/>
        </pc:sldMkLst>
        <pc:spChg chg="mod">
          <ac:chgData name="Lars Ivar Hatledal" userId="da83bdda-499a-4427-8775-f375be339a54" providerId="ADAL" clId="{D4F7D428-4D3F-4D7F-A708-D669671558DA}" dt="2021-03-18T21:47:25.210" v="27385" actId="404"/>
          <ac:spMkLst>
            <pc:docMk/>
            <pc:sldMk cId="912018181" sldId="541"/>
            <ac:spMk id="7" creationId="{63991A79-2DF5-4987-8986-F8B6237BF2C9}"/>
          </ac:spMkLst>
        </pc:spChg>
        <pc:spChg chg="mod">
          <ac:chgData name="Lars Ivar Hatledal" userId="da83bdda-499a-4427-8775-f375be339a54" providerId="ADAL" clId="{D4F7D428-4D3F-4D7F-A708-D669671558DA}" dt="2021-03-14T18:13:30.875" v="13630" actId="20577"/>
          <ac:spMkLst>
            <pc:docMk/>
            <pc:sldMk cId="912018181" sldId="541"/>
            <ac:spMk id="45" creationId="{ABE05CC7-87A9-4E18-AEA7-3CFE48FBF726}"/>
          </ac:spMkLst>
        </pc:spChg>
        <pc:picChg chg="del">
          <ac:chgData name="Lars Ivar Hatledal" userId="da83bdda-499a-4427-8775-f375be339a54" providerId="ADAL" clId="{D4F7D428-4D3F-4D7F-A708-D669671558DA}" dt="2021-03-14T18:15:50.387" v="13926" actId="478"/>
          <ac:picMkLst>
            <pc:docMk/>
            <pc:sldMk cId="912018181" sldId="541"/>
            <ac:picMk id="3" creationId="{6244319C-90A0-472D-893F-E7376EBA741B}"/>
          </ac:picMkLst>
        </pc:picChg>
        <pc:picChg chg="add mod">
          <ac:chgData name="Lars Ivar Hatledal" userId="da83bdda-499a-4427-8775-f375be339a54" providerId="ADAL" clId="{D4F7D428-4D3F-4D7F-A708-D669671558DA}" dt="2021-03-18T17:25:03.332" v="18280" actId="1076"/>
          <ac:picMkLst>
            <pc:docMk/>
            <pc:sldMk cId="912018181" sldId="541"/>
            <ac:picMk id="4" creationId="{1A5FDDCB-4743-4E8B-B372-E20DFA767F88}"/>
          </ac:picMkLst>
        </pc:picChg>
        <pc:picChg chg="add del mod">
          <ac:chgData name="Lars Ivar Hatledal" userId="da83bdda-499a-4427-8775-f375be339a54" providerId="ADAL" clId="{D4F7D428-4D3F-4D7F-A708-D669671558DA}" dt="2021-03-14T18:36:15.113" v="14462" actId="478"/>
          <ac:picMkLst>
            <pc:docMk/>
            <pc:sldMk cId="912018181" sldId="541"/>
            <ac:picMk id="17410" creationId="{9EDF4636-C2F2-4BE8-88BE-C587F34A3290}"/>
          </ac:picMkLst>
        </pc:picChg>
        <pc:picChg chg="add del">
          <ac:chgData name="Lars Ivar Hatledal" userId="da83bdda-499a-4427-8775-f375be339a54" providerId="ADAL" clId="{D4F7D428-4D3F-4D7F-A708-D669671558DA}" dt="2021-03-14T18:36:19.756" v="14464"/>
          <ac:picMkLst>
            <pc:docMk/>
            <pc:sldMk cId="912018181" sldId="541"/>
            <ac:picMk id="17412" creationId="{68C44EFE-2C68-4FF0-9358-99C67CCFCF5C}"/>
          </ac:picMkLst>
        </pc:picChg>
      </pc:sldChg>
      <pc:sldChg chg="add del">
        <pc:chgData name="Lars Ivar Hatledal" userId="da83bdda-499a-4427-8775-f375be339a54" providerId="ADAL" clId="{D4F7D428-4D3F-4D7F-A708-D669671558DA}" dt="2021-03-14T17:55:52.973" v="13243" actId="47"/>
        <pc:sldMkLst>
          <pc:docMk/>
          <pc:sldMk cId="3466999251" sldId="541"/>
        </pc:sldMkLst>
      </pc:sldChg>
      <pc:sldChg chg="new del">
        <pc:chgData name="Lars Ivar Hatledal" userId="da83bdda-499a-4427-8775-f375be339a54" providerId="ADAL" clId="{D4F7D428-4D3F-4D7F-A708-D669671558DA}" dt="2021-03-14T17:44:20.662" v="12684" actId="47"/>
        <pc:sldMkLst>
          <pc:docMk/>
          <pc:sldMk cId="3975145960" sldId="541"/>
        </pc:sldMkLst>
      </pc:sldChg>
      <pc:sldChg chg="modSp add del mod">
        <pc:chgData name="Lars Ivar Hatledal" userId="da83bdda-499a-4427-8775-f375be339a54" providerId="ADAL" clId="{D4F7D428-4D3F-4D7F-A708-D669671558DA}" dt="2021-03-14T17:44:18.765" v="12683" actId="47"/>
        <pc:sldMkLst>
          <pc:docMk/>
          <pc:sldMk cId="223626903" sldId="542"/>
        </pc:sldMkLst>
        <pc:spChg chg="mod">
          <ac:chgData name="Lars Ivar Hatledal" userId="da83bdda-499a-4427-8775-f375be339a54" providerId="ADAL" clId="{D4F7D428-4D3F-4D7F-A708-D669671558DA}" dt="2021-03-14T17:43:54.231" v="12682" actId="20577"/>
          <ac:spMkLst>
            <pc:docMk/>
            <pc:sldMk cId="223626903" sldId="542"/>
            <ac:spMk id="26" creationId="{F7012B31-D035-4588-A480-DACDA83B843C}"/>
          </ac:spMkLst>
        </pc:spChg>
        <pc:spChg chg="mod">
          <ac:chgData name="Lars Ivar Hatledal" userId="da83bdda-499a-4427-8775-f375be339a54" providerId="ADAL" clId="{D4F7D428-4D3F-4D7F-A708-D669671558DA}" dt="2021-03-14T17:43:23.378" v="12651" actId="20577"/>
          <ac:spMkLst>
            <pc:docMk/>
            <pc:sldMk cId="223626903" sldId="542"/>
            <ac:spMk id="28" creationId="{48703A56-96F6-4216-B29F-75E1A68FEBED}"/>
          </ac:spMkLst>
        </pc:spChg>
      </pc:sldChg>
      <pc:sldChg chg="new del">
        <pc:chgData name="Lars Ivar Hatledal" userId="da83bdda-499a-4427-8775-f375be339a54" providerId="ADAL" clId="{D4F7D428-4D3F-4D7F-A708-D669671558DA}" dt="2021-03-14T18:37:39.883" v="14476" actId="47"/>
        <pc:sldMkLst>
          <pc:docMk/>
          <pc:sldMk cId="2979981962" sldId="542"/>
        </pc:sldMkLst>
      </pc:sldChg>
      <pc:sldChg chg="addSp delSp modSp add mod modNotesTx">
        <pc:chgData name="Lars Ivar Hatledal" userId="da83bdda-499a-4427-8775-f375be339a54" providerId="ADAL" clId="{D4F7D428-4D3F-4D7F-A708-D669671558DA}" dt="2021-03-18T21:46:04.058" v="27384" actId="27636"/>
        <pc:sldMkLst>
          <pc:docMk/>
          <pc:sldMk cId="4080406720" sldId="543"/>
        </pc:sldMkLst>
        <pc:spChg chg="mod">
          <ac:chgData name="Lars Ivar Hatledal" userId="da83bdda-499a-4427-8775-f375be339a54" providerId="ADAL" clId="{D4F7D428-4D3F-4D7F-A708-D669671558DA}" dt="2021-03-18T21:46:04.058" v="27384" actId="27636"/>
          <ac:spMkLst>
            <pc:docMk/>
            <pc:sldMk cId="4080406720" sldId="543"/>
            <ac:spMk id="7" creationId="{63991A79-2DF5-4987-8986-F8B6237BF2C9}"/>
          </ac:spMkLst>
        </pc:spChg>
        <pc:spChg chg="mod">
          <ac:chgData name="Lars Ivar Hatledal" userId="da83bdda-499a-4427-8775-f375be339a54" providerId="ADAL" clId="{D4F7D428-4D3F-4D7F-A708-D669671558DA}" dt="2021-03-14T18:47:32.550" v="14693"/>
          <ac:spMkLst>
            <pc:docMk/>
            <pc:sldMk cId="4080406720" sldId="543"/>
            <ac:spMk id="30" creationId="{12D6B993-5584-4FA8-9574-286DC0980015}"/>
          </ac:spMkLst>
        </pc:spChg>
        <pc:spChg chg="mod">
          <ac:chgData name="Lars Ivar Hatledal" userId="da83bdda-499a-4427-8775-f375be339a54" providerId="ADAL" clId="{D4F7D428-4D3F-4D7F-A708-D669671558DA}" dt="2021-03-14T18:47:32.550" v="14693"/>
          <ac:spMkLst>
            <pc:docMk/>
            <pc:sldMk cId="4080406720" sldId="543"/>
            <ac:spMk id="31" creationId="{26E5F555-234F-483D-B1D1-D93CAF4A5A46}"/>
          </ac:spMkLst>
        </pc:spChg>
        <pc:spChg chg="mod">
          <ac:chgData name="Lars Ivar Hatledal" userId="da83bdda-499a-4427-8775-f375be339a54" providerId="ADAL" clId="{D4F7D428-4D3F-4D7F-A708-D669671558DA}" dt="2021-03-14T18:47:32.550" v="14693"/>
          <ac:spMkLst>
            <pc:docMk/>
            <pc:sldMk cId="4080406720" sldId="543"/>
            <ac:spMk id="32" creationId="{17E91DB8-31A3-4F0F-8F31-E6446C90D5E0}"/>
          </ac:spMkLst>
        </pc:spChg>
        <pc:spChg chg="mod">
          <ac:chgData name="Lars Ivar Hatledal" userId="da83bdda-499a-4427-8775-f375be339a54" providerId="ADAL" clId="{D4F7D428-4D3F-4D7F-A708-D669671558DA}" dt="2021-03-14T18:47:32.550" v="14693"/>
          <ac:spMkLst>
            <pc:docMk/>
            <pc:sldMk cId="4080406720" sldId="543"/>
            <ac:spMk id="33" creationId="{43B8D8A0-4A8E-4FFC-8B0F-DBBB0E12E823}"/>
          </ac:spMkLst>
        </pc:spChg>
        <pc:spChg chg="mod">
          <ac:chgData name="Lars Ivar Hatledal" userId="da83bdda-499a-4427-8775-f375be339a54" providerId="ADAL" clId="{D4F7D428-4D3F-4D7F-A708-D669671558DA}" dt="2021-03-14T18:47:32.550" v="14693"/>
          <ac:spMkLst>
            <pc:docMk/>
            <pc:sldMk cId="4080406720" sldId="543"/>
            <ac:spMk id="34" creationId="{9E8A33F8-253F-4659-A4BE-E451619B0B0A}"/>
          </ac:spMkLst>
        </pc:spChg>
        <pc:spChg chg="mod">
          <ac:chgData name="Lars Ivar Hatledal" userId="da83bdda-499a-4427-8775-f375be339a54" providerId="ADAL" clId="{D4F7D428-4D3F-4D7F-A708-D669671558DA}" dt="2021-03-14T18:47:32.550" v="14693"/>
          <ac:spMkLst>
            <pc:docMk/>
            <pc:sldMk cId="4080406720" sldId="543"/>
            <ac:spMk id="53" creationId="{523938A9-2537-472B-AEB3-B1A4904727FD}"/>
          </ac:spMkLst>
        </pc:spChg>
        <pc:spChg chg="mod">
          <ac:chgData name="Lars Ivar Hatledal" userId="da83bdda-499a-4427-8775-f375be339a54" providerId="ADAL" clId="{D4F7D428-4D3F-4D7F-A708-D669671558DA}" dt="2021-03-14T18:47:32.550" v="14693"/>
          <ac:spMkLst>
            <pc:docMk/>
            <pc:sldMk cId="4080406720" sldId="543"/>
            <ac:spMk id="54" creationId="{11B4CF18-29BB-4A22-92E6-51ED408AF06B}"/>
          </ac:spMkLst>
        </pc:spChg>
        <pc:spChg chg="mod">
          <ac:chgData name="Lars Ivar Hatledal" userId="da83bdda-499a-4427-8775-f375be339a54" providerId="ADAL" clId="{D4F7D428-4D3F-4D7F-A708-D669671558DA}" dt="2021-03-14T18:47:32.550" v="14693"/>
          <ac:spMkLst>
            <pc:docMk/>
            <pc:sldMk cId="4080406720" sldId="543"/>
            <ac:spMk id="55" creationId="{94A3EE71-0FFE-40A9-A280-58377198CBB2}"/>
          </ac:spMkLst>
        </pc:spChg>
        <pc:spChg chg="mod">
          <ac:chgData name="Lars Ivar Hatledal" userId="da83bdda-499a-4427-8775-f375be339a54" providerId="ADAL" clId="{D4F7D428-4D3F-4D7F-A708-D669671558DA}" dt="2021-03-14T18:47:32.550" v="14693"/>
          <ac:spMkLst>
            <pc:docMk/>
            <pc:sldMk cId="4080406720" sldId="543"/>
            <ac:spMk id="56" creationId="{CC510842-B0D8-495A-B9D5-A1D3D5562E9A}"/>
          </ac:spMkLst>
        </pc:spChg>
        <pc:spChg chg="mod">
          <ac:chgData name="Lars Ivar Hatledal" userId="da83bdda-499a-4427-8775-f375be339a54" providerId="ADAL" clId="{D4F7D428-4D3F-4D7F-A708-D669671558DA}" dt="2021-03-14T18:47:32.550" v="14693"/>
          <ac:spMkLst>
            <pc:docMk/>
            <pc:sldMk cId="4080406720" sldId="543"/>
            <ac:spMk id="57" creationId="{DBB1C421-01EC-4DB7-B13D-04693F1B16EA}"/>
          </ac:spMkLst>
        </pc:spChg>
        <pc:grpChg chg="del">
          <ac:chgData name="Lars Ivar Hatledal" userId="da83bdda-499a-4427-8775-f375be339a54" providerId="ADAL" clId="{D4F7D428-4D3F-4D7F-A708-D669671558DA}" dt="2021-03-14T18:47:32.260" v="14692" actId="478"/>
          <ac:grpSpMkLst>
            <pc:docMk/>
            <pc:sldMk cId="4080406720" sldId="543"/>
            <ac:grpSpMk id="2" creationId="{FB0E3E3F-4D6E-4365-B8D1-477E1C1440EC}"/>
          </ac:grpSpMkLst>
        </pc:grpChg>
        <pc:grpChg chg="add mod">
          <ac:chgData name="Lars Ivar Hatledal" userId="da83bdda-499a-4427-8775-f375be339a54" providerId="ADAL" clId="{D4F7D428-4D3F-4D7F-A708-D669671558DA}" dt="2021-03-14T18:47:32.550" v="14693"/>
          <ac:grpSpMkLst>
            <pc:docMk/>
            <pc:sldMk cId="4080406720" sldId="543"/>
            <ac:grpSpMk id="24" creationId="{CABCDD66-F984-43ED-91F7-09BCA6DD1E43}"/>
          </ac:grpSpMkLst>
        </pc:grpChg>
        <pc:grpChg chg="mod">
          <ac:chgData name="Lars Ivar Hatledal" userId="da83bdda-499a-4427-8775-f375be339a54" providerId="ADAL" clId="{D4F7D428-4D3F-4D7F-A708-D669671558DA}" dt="2021-03-14T18:47:32.550" v="14693"/>
          <ac:grpSpMkLst>
            <pc:docMk/>
            <pc:sldMk cId="4080406720" sldId="543"/>
            <ac:grpSpMk id="25" creationId="{85ED21D4-3B8E-4560-85A4-C1751208C8C4}"/>
          </ac:grpSpMkLst>
        </pc:grpChg>
        <pc:grpChg chg="mod">
          <ac:chgData name="Lars Ivar Hatledal" userId="da83bdda-499a-4427-8775-f375be339a54" providerId="ADAL" clId="{D4F7D428-4D3F-4D7F-A708-D669671558DA}" dt="2021-03-14T18:47:32.550" v="14693"/>
          <ac:grpSpMkLst>
            <pc:docMk/>
            <pc:sldMk cId="4080406720" sldId="543"/>
            <ac:grpSpMk id="26" creationId="{8E14FB73-E344-444F-982D-22094447C4D3}"/>
          </ac:grpSpMkLst>
        </pc:grpChg>
        <pc:grpChg chg="mod">
          <ac:chgData name="Lars Ivar Hatledal" userId="da83bdda-499a-4427-8775-f375be339a54" providerId="ADAL" clId="{D4F7D428-4D3F-4D7F-A708-D669671558DA}" dt="2021-03-14T18:47:32.550" v="14693"/>
          <ac:grpSpMkLst>
            <pc:docMk/>
            <pc:sldMk cId="4080406720" sldId="543"/>
            <ac:grpSpMk id="27" creationId="{594F6886-5ADB-401D-84DA-244DCA9D9556}"/>
          </ac:grpSpMkLst>
        </pc:grpChg>
        <pc:grpChg chg="mod">
          <ac:chgData name="Lars Ivar Hatledal" userId="da83bdda-499a-4427-8775-f375be339a54" providerId="ADAL" clId="{D4F7D428-4D3F-4D7F-A708-D669671558DA}" dt="2021-03-14T18:47:32.550" v="14693"/>
          <ac:grpSpMkLst>
            <pc:docMk/>
            <pc:sldMk cId="4080406720" sldId="543"/>
            <ac:grpSpMk id="28" creationId="{BC0ABA30-BFDB-4594-8F44-9D3ED1921E2E}"/>
          </ac:grpSpMkLst>
        </pc:grpChg>
        <pc:grpChg chg="mod">
          <ac:chgData name="Lars Ivar Hatledal" userId="da83bdda-499a-4427-8775-f375be339a54" providerId="ADAL" clId="{D4F7D428-4D3F-4D7F-A708-D669671558DA}" dt="2021-03-14T18:47:32.550" v="14693"/>
          <ac:grpSpMkLst>
            <pc:docMk/>
            <pc:sldMk cId="4080406720" sldId="543"/>
            <ac:grpSpMk id="29" creationId="{BFB5514A-2C3F-40B4-8409-316D98CFEC8F}"/>
          </ac:grpSpMkLst>
        </pc:grpChg>
        <pc:picChg chg="mod">
          <ac:chgData name="Lars Ivar Hatledal" userId="da83bdda-499a-4427-8775-f375be339a54" providerId="ADAL" clId="{D4F7D428-4D3F-4D7F-A708-D669671558DA}" dt="2021-03-18T21:45:52.649" v="27382" actId="1076"/>
          <ac:picMkLst>
            <pc:docMk/>
            <pc:sldMk cId="4080406720" sldId="543"/>
            <ac:picMk id="3" creationId="{6244319C-90A0-472D-893F-E7376EBA741B}"/>
          </ac:picMkLst>
        </pc:picChg>
      </pc:sldChg>
      <pc:sldChg chg="addSp delSp modSp add mod">
        <pc:chgData name="Lars Ivar Hatledal" userId="da83bdda-499a-4427-8775-f375be339a54" providerId="ADAL" clId="{D4F7D428-4D3F-4D7F-A708-D669671558DA}" dt="2021-03-14T18:47:27.980" v="14691"/>
        <pc:sldMkLst>
          <pc:docMk/>
          <pc:sldMk cId="2228147464" sldId="544"/>
        </pc:sldMkLst>
        <pc:spChg chg="mod">
          <ac:chgData name="Lars Ivar Hatledal" userId="da83bdda-499a-4427-8775-f375be339a54" providerId="ADAL" clId="{D4F7D428-4D3F-4D7F-A708-D669671558DA}" dt="2021-03-14T18:40:41.722" v="14652" actId="403"/>
          <ac:spMkLst>
            <pc:docMk/>
            <pc:sldMk cId="2228147464" sldId="544"/>
            <ac:spMk id="7" creationId="{63991A79-2DF5-4987-8986-F8B6237BF2C9}"/>
          </ac:spMkLst>
        </pc:spChg>
        <pc:spChg chg="mod">
          <ac:chgData name="Lars Ivar Hatledal" userId="da83bdda-499a-4427-8775-f375be339a54" providerId="ADAL" clId="{D4F7D428-4D3F-4D7F-A708-D669671558DA}" dt="2021-03-14T18:47:27.980" v="14691"/>
          <ac:spMkLst>
            <pc:docMk/>
            <pc:sldMk cId="2228147464" sldId="544"/>
            <ac:spMk id="31" creationId="{F3F56F13-F6A3-4AFB-B59D-712B9F28FE66}"/>
          </ac:spMkLst>
        </pc:spChg>
        <pc:spChg chg="mod">
          <ac:chgData name="Lars Ivar Hatledal" userId="da83bdda-499a-4427-8775-f375be339a54" providerId="ADAL" clId="{D4F7D428-4D3F-4D7F-A708-D669671558DA}" dt="2021-03-14T18:47:27.980" v="14691"/>
          <ac:spMkLst>
            <pc:docMk/>
            <pc:sldMk cId="2228147464" sldId="544"/>
            <ac:spMk id="32" creationId="{1D169E7B-86FD-4F3C-9ADD-B6AA1D700F04}"/>
          </ac:spMkLst>
        </pc:spChg>
        <pc:spChg chg="mod">
          <ac:chgData name="Lars Ivar Hatledal" userId="da83bdda-499a-4427-8775-f375be339a54" providerId="ADAL" clId="{D4F7D428-4D3F-4D7F-A708-D669671558DA}" dt="2021-03-14T18:47:27.980" v="14691"/>
          <ac:spMkLst>
            <pc:docMk/>
            <pc:sldMk cId="2228147464" sldId="544"/>
            <ac:spMk id="33" creationId="{DE8BF7B8-8C5D-447E-AD80-CBEDFC0D0047}"/>
          </ac:spMkLst>
        </pc:spChg>
        <pc:spChg chg="mod">
          <ac:chgData name="Lars Ivar Hatledal" userId="da83bdda-499a-4427-8775-f375be339a54" providerId="ADAL" clId="{D4F7D428-4D3F-4D7F-A708-D669671558DA}" dt="2021-03-14T18:47:27.980" v="14691"/>
          <ac:spMkLst>
            <pc:docMk/>
            <pc:sldMk cId="2228147464" sldId="544"/>
            <ac:spMk id="34" creationId="{CB55F05B-8038-4CFF-B42D-3471657495BC}"/>
          </ac:spMkLst>
        </pc:spChg>
        <pc:spChg chg="mod">
          <ac:chgData name="Lars Ivar Hatledal" userId="da83bdda-499a-4427-8775-f375be339a54" providerId="ADAL" clId="{D4F7D428-4D3F-4D7F-A708-D669671558DA}" dt="2021-03-14T18:47:27.980" v="14691"/>
          <ac:spMkLst>
            <pc:docMk/>
            <pc:sldMk cId="2228147464" sldId="544"/>
            <ac:spMk id="53" creationId="{C98349AF-91EE-46B7-A2D6-D234629E1D28}"/>
          </ac:spMkLst>
        </pc:spChg>
        <pc:spChg chg="mod">
          <ac:chgData name="Lars Ivar Hatledal" userId="da83bdda-499a-4427-8775-f375be339a54" providerId="ADAL" clId="{D4F7D428-4D3F-4D7F-A708-D669671558DA}" dt="2021-03-14T18:47:27.980" v="14691"/>
          <ac:spMkLst>
            <pc:docMk/>
            <pc:sldMk cId="2228147464" sldId="544"/>
            <ac:spMk id="54" creationId="{D57802A8-7FEF-4B9E-B839-68B5F754BBB9}"/>
          </ac:spMkLst>
        </pc:spChg>
        <pc:spChg chg="mod">
          <ac:chgData name="Lars Ivar Hatledal" userId="da83bdda-499a-4427-8775-f375be339a54" providerId="ADAL" clId="{D4F7D428-4D3F-4D7F-A708-D669671558DA}" dt="2021-03-14T18:47:27.980" v="14691"/>
          <ac:spMkLst>
            <pc:docMk/>
            <pc:sldMk cId="2228147464" sldId="544"/>
            <ac:spMk id="55" creationId="{E084A0A1-F307-4FD6-927F-0E3840B9E14A}"/>
          </ac:spMkLst>
        </pc:spChg>
        <pc:spChg chg="mod">
          <ac:chgData name="Lars Ivar Hatledal" userId="da83bdda-499a-4427-8775-f375be339a54" providerId="ADAL" clId="{D4F7D428-4D3F-4D7F-A708-D669671558DA}" dt="2021-03-14T18:47:27.980" v="14691"/>
          <ac:spMkLst>
            <pc:docMk/>
            <pc:sldMk cId="2228147464" sldId="544"/>
            <ac:spMk id="56" creationId="{56018049-8304-485D-BC16-96C028377B90}"/>
          </ac:spMkLst>
        </pc:spChg>
        <pc:spChg chg="mod">
          <ac:chgData name="Lars Ivar Hatledal" userId="da83bdda-499a-4427-8775-f375be339a54" providerId="ADAL" clId="{D4F7D428-4D3F-4D7F-A708-D669671558DA}" dt="2021-03-14T18:47:27.980" v="14691"/>
          <ac:spMkLst>
            <pc:docMk/>
            <pc:sldMk cId="2228147464" sldId="544"/>
            <ac:spMk id="57" creationId="{FF71C18C-C1CC-40FF-8358-AD2E4E9CD7AC}"/>
          </ac:spMkLst>
        </pc:spChg>
        <pc:spChg chg="mod">
          <ac:chgData name="Lars Ivar Hatledal" userId="da83bdda-499a-4427-8775-f375be339a54" providerId="ADAL" clId="{D4F7D428-4D3F-4D7F-A708-D669671558DA}" dt="2021-03-14T18:47:27.980" v="14691"/>
          <ac:spMkLst>
            <pc:docMk/>
            <pc:sldMk cId="2228147464" sldId="544"/>
            <ac:spMk id="58" creationId="{FABA93D5-677D-424D-AF59-21DBEE2B0956}"/>
          </ac:spMkLst>
        </pc:spChg>
        <pc:grpChg chg="del">
          <ac:chgData name="Lars Ivar Hatledal" userId="da83bdda-499a-4427-8775-f375be339a54" providerId="ADAL" clId="{D4F7D428-4D3F-4D7F-A708-D669671558DA}" dt="2021-03-14T18:47:27.571" v="14690" actId="478"/>
          <ac:grpSpMkLst>
            <pc:docMk/>
            <pc:sldMk cId="2228147464" sldId="544"/>
            <ac:grpSpMk id="2" creationId="{FB0E3E3F-4D6E-4365-B8D1-477E1C1440EC}"/>
          </ac:grpSpMkLst>
        </pc:grpChg>
        <pc:grpChg chg="add mod">
          <ac:chgData name="Lars Ivar Hatledal" userId="da83bdda-499a-4427-8775-f375be339a54" providerId="ADAL" clId="{D4F7D428-4D3F-4D7F-A708-D669671558DA}" dt="2021-03-14T18:47:27.980" v="14691"/>
          <ac:grpSpMkLst>
            <pc:docMk/>
            <pc:sldMk cId="2228147464" sldId="544"/>
            <ac:grpSpMk id="25" creationId="{8F8E1450-753C-47D4-A4F1-AEBAC549198F}"/>
          </ac:grpSpMkLst>
        </pc:grpChg>
        <pc:grpChg chg="mod">
          <ac:chgData name="Lars Ivar Hatledal" userId="da83bdda-499a-4427-8775-f375be339a54" providerId="ADAL" clId="{D4F7D428-4D3F-4D7F-A708-D669671558DA}" dt="2021-03-14T18:47:27.980" v="14691"/>
          <ac:grpSpMkLst>
            <pc:docMk/>
            <pc:sldMk cId="2228147464" sldId="544"/>
            <ac:grpSpMk id="26" creationId="{0BA0B647-2713-4C9F-9D1C-EE7087019D22}"/>
          </ac:grpSpMkLst>
        </pc:grpChg>
        <pc:grpChg chg="mod">
          <ac:chgData name="Lars Ivar Hatledal" userId="da83bdda-499a-4427-8775-f375be339a54" providerId="ADAL" clId="{D4F7D428-4D3F-4D7F-A708-D669671558DA}" dt="2021-03-14T18:47:27.980" v="14691"/>
          <ac:grpSpMkLst>
            <pc:docMk/>
            <pc:sldMk cId="2228147464" sldId="544"/>
            <ac:grpSpMk id="27" creationId="{F8C509A2-D095-4BEC-8A55-C811660733E7}"/>
          </ac:grpSpMkLst>
        </pc:grpChg>
        <pc:grpChg chg="mod">
          <ac:chgData name="Lars Ivar Hatledal" userId="da83bdda-499a-4427-8775-f375be339a54" providerId="ADAL" clId="{D4F7D428-4D3F-4D7F-A708-D669671558DA}" dt="2021-03-14T18:47:27.980" v="14691"/>
          <ac:grpSpMkLst>
            <pc:docMk/>
            <pc:sldMk cId="2228147464" sldId="544"/>
            <ac:grpSpMk id="28" creationId="{9E0DA687-4D7B-4CD7-AF16-737FE8ED8065}"/>
          </ac:grpSpMkLst>
        </pc:grpChg>
        <pc:grpChg chg="mod">
          <ac:chgData name="Lars Ivar Hatledal" userId="da83bdda-499a-4427-8775-f375be339a54" providerId="ADAL" clId="{D4F7D428-4D3F-4D7F-A708-D669671558DA}" dt="2021-03-14T18:47:27.980" v="14691"/>
          <ac:grpSpMkLst>
            <pc:docMk/>
            <pc:sldMk cId="2228147464" sldId="544"/>
            <ac:grpSpMk id="29" creationId="{46718E5A-15C2-4754-A630-57C16C624C97}"/>
          </ac:grpSpMkLst>
        </pc:grpChg>
        <pc:grpChg chg="mod">
          <ac:chgData name="Lars Ivar Hatledal" userId="da83bdda-499a-4427-8775-f375be339a54" providerId="ADAL" clId="{D4F7D428-4D3F-4D7F-A708-D669671558DA}" dt="2021-03-14T18:47:27.980" v="14691"/>
          <ac:grpSpMkLst>
            <pc:docMk/>
            <pc:sldMk cId="2228147464" sldId="544"/>
            <ac:grpSpMk id="30" creationId="{9F60EA27-5C8E-423B-A357-C709A712E62F}"/>
          </ac:grpSpMkLst>
        </pc:grpChg>
        <pc:picChg chg="del">
          <ac:chgData name="Lars Ivar Hatledal" userId="da83bdda-499a-4427-8775-f375be339a54" providerId="ADAL" clId="{D4F7D428-4D3F-4D7F-A708-D669671558DA}" dt="2021-03-14T18:40:44.481" v="14653" actId="478"/>
          <ac:picMkLst>
            <pc:docMk/>
            <pc:sldMk cId="2228147464" sldId="544"/>
            <ac:picMk id="24" creationId="{1DCAF517-290C-4B9A-BF40-827866B9EB0E}"/>
          </ac:picMkLst>
        </pc:picChg>
      </pc:sldChg>
      <pc:sldChg chg="modSp mod modNotesTx">
        <pc:chgData name="Lars Ivar Hatledal" userId="da83bdda-499a-4427-8775-f375be339a54" providerId="ADAL" clId="{D4F7D428-4D3F-4D7F-A708-D669671558DA}" dt="2021-03-18T22:06:14.883" v="29149" actId="20577"/>
        <pc:sldMkLst>
          <pc:docMk/>
          <pc:sldMk cId="1823700865" sldId="546"/>
        </pc:sldMkLst>
        <pc:spChg chg="mod">
          <ac:chgData name="Lars Ivar Hatledal" userId="da83bdda-499a-4427-8775-f375be339a54" providerId="ADAL" clId="{D4F7D428-4D3F-4D7F-A708-D669671558DA}" dt="2021-03-18T22:01:49.957" v="28439" actId="15"/>
          <ac:spMkLst>
            <pc:docMk/>
            <pc:sldMk cId="1823700865" sldId="546"/>
            <ac:spMk id="26" creationId="{F7012B31-D035-4588-A480-DACDA83B843C}"/>
          </ac:spMkLst>
        </pc:spChg>
      </pc:sldChg>
      <pc:sldChg chg="modSp mod ord">
        <pc:chgData name="Lars Ivar Hatledal" userId="da83bdda-499a-4427-8775-f375be339a54" providerId="ADAL" clId="{D4F7D428-4D3F-4D7F-A708-D669671558DA}" dt="2021-03-18T19:45:05.281" v="24973"/>
        <pc:sldMkLst>
          <pc:docMk/>
          <pc:sldMk cId="908349976" sldId="547"/>
        </pc:sldMkLst>
        <pc:spChg chg="mod">
          <ac:chgData name="Lars Ivar Hatledal" userId="da83bdda-499a-4427-8775-f375be339a54" providerId="ADAL" clId="{D4F7D428-4D3F-4D7F-A708-D669671558DA}" dt="2021-03-17T14:33:30.981" v="18189" actId="27636"/>
          <ac:spMkLst>
            <pc:docMk/>
            <pc:sldMk cId="908349976" sldId="547"/>
            <ac:spMk id="7" creationId="{63991A79-2DF5-4987-8986-F8B6237BF2C9}"/>
          </ac:spMkLst>
        </pc:spChg>
        <pc:spChg chg="mod">
          <ac:chgData name="Lars Ivar Hatledal" userId="da83bdda-499a-4427-8775-f375be339a54" providerId="ADAL" clId="{D4F7D428-4D3F-4D7F-A708-D669671558DA}" dt="2021-03-18T19:24:58.318" v="23570" actId="207"/>
          <ac:spMkLst>
            <pc:docMk/>
            <pc:sldMk cId="908349976" sldId="547"/>
            <ac:spMk id="45" creationId="{ABE05CC7-87A9-4E18-AEA7-3CFE48FBF726}"/>
          </ac:spMkLst>
        </pc:spChg>
        <pc:picChg chg="mod">
          <ac:chgData name="Lars Ivar Hatledal" userId="da83bdda-499a-4427-8775-f375be339a54" providerId="ADAL" clId="{D4F7D428-4D3F-4D7F-A708-D669671558DA}" dt="2021-03-17T14:33:39.448" v="18190" actId="1076"/>
          <ac:picMkLst>
            <pc:docMk/>
            <pc:sldMk cId="908349976" sldId="547"/>
            <ac:picMk id="36" creationId="{34B61731-EF9D-46AA-8678-BDB1ABE5A806}"/>
          </ac:picMkLst>
        </pc:picChg>
      </pc:sldChg>
      <pc:sldChg chg="modNotesTx">
        <pc:chgData name="Lars Ivar Hatledal" userId="da83bdda-499a-4427-8775-f375be339a54" providerId="ADAL" clId="{D4F7D428-4D3F-4D7F-A708-D669671558DA}" dt="2021-03-18T21:20:17.985" v="26711" actId="20577"/>
        <pc:sldMkLst>
          <pc:docMk/>
          <pc:sldMk cId="2184517477" sldId="551"/>
        </pc:sldMkLst>
      </pc:sldChg>
      <pc:sldChg chg="modSp mod modNotesTx">
        <pc:chgData name="Lars Ivar Hatledal" userId="da83bdda-499a-4427-8775-f375be339a54" providerId="ADAL" clId="{D4F7D428-4D3F-4D7F-A708-D669671558DA}" dt="2021-03-18T19:08:52.236" v="23070" actId="1038"/>
        <pc:sldMkLst>
          <pc:docMk/>
          <pc:sldMk cId="1714680153" sldId="553"/>
        </pc:sldMkLst>
        <pc:spChg chg="mod">
          <ac:chgData name="Lars Ivar Hatledal" userId="da83bdda-499a-4427-8775-f375be339a54" providerId="ADAL" clId="{D4F7D428-4D3F-4D7F-A708-D669671558DA}" dt="2021-03-18T19:08:48.068" v="23060" actId="1038"/>
          <ac:spMkLst>
            <pc:docMk/>
            <pc:sldMk cId="1714680153" sldId="553"/>
            <ac:spMk id="3" creationId="{FBFA873D-0EAC-4D07-996B-B429A793C066}"/>
          </ac:spMkLst>
        </pc:spChg>
        <pc:spChg chg="mod">
          <ac:chgData name="Lars Ivar Hatledal" userId="da83bdda-499a-4427-8775-f375be339a54" providerId="ADAL" clId="{D4F7D428-4D3F-4D7F-A708-D669671558DA}" dt="2021-03-18T19:08:32.973" v="23050" actId="1076"/>
          <ac:spMkLst>
            <pc:docMk/>
            <pc:sldMk cId="1714680153" sldId="553"/>
            <ac:spMk id="5" creationId="{576249E6-FCC1-4611-8A08-3DFA173A9B38}"/>
          </ac:spMkLst>
        </pc:spChg>
        <pc:spChg chg="mod">
          <ac:chgData name="Lars Ivar Hatledal" userId="da83bdda-499a-4427-8775-f375be339a54" providerId="ADAL" clId="{D4F7D428-4D3F-4D7F-A708-D669671558DA}" dt="2021-03-18T19:07:43.599" v="23043" actId="403"/>
          <ac:spMkLst>
            <pc:docMk/>
            <pc:sldMk cId="1714680153" sldId="553"/>
            <ac:spMk id="7" creationId="{63991A79-2DF5-4987-8986-F8B6237BF2C9}"/>
          </ac:spMkLst>
        </pc:spChg>
        <pc:spChg chg="mod">
          <ac:chgData name="Lars Ivar Hatledal" userId="da83bdda-499a-4427-8775-f375be339a54" providerId="ADAL" clId="{D4F7D428-4D3F-4D7F-A708-D669671558DA}" dt="2021-03-18T19:07:55.677" v="23044" actId="1076"/>
          <ac:spMkLst>
            <pc:docMk/>
            <pc:sldMk cId="1714680153" sldId="553"/>
            <ac:spMk id="26" creationId="{C08E6AB1-06B1-47A7-8691-A206BD476562}"/>
          </ac:spMkLst>
        </pc:spChg>
        <pc:spChg chg="mod">
          <ac:chgData name="Lars Ivar Hatledal" userId="da83bdda-499a-4427-8775-f375be339a54" providerId="ADAL" clId="{D4F7D428-4D3F-4D7F-A708-D669671558DA}" dt="2021-03-18T19:08:11.471" v="23047" actId="1076"/>
          <ac:spMkLst>
            <pc:docMk/>
            <pc:sldMk cId="1714680153" sldId="553"/>
            <ac:spMk id="27" creationId="{BE99AE81-1325-46E4-8A50-0C5604E92AD1}"/>
          </ac:spMkLst>
        </pc:spChg>
        <pc:spChg chg="mod">
          <ac:chgData name="Lars Ivar Hatledal" userId="da83bdda-499a-4427-8775-f375be339a54" providerId="ADAL" clId="{D4F7D428-4D3F-4D7F-A708-D669671558DA}" dt="2021-03-18T19:08:52.236" v="23070" actId="1038"/>
          <ac:spMkLst>
            <pc:docMk/>
            <pc:sldMk cId="1714680153" sldId="553"/>
            <ac:spMk id="28" creationId="{A4711B5E-7769-444A-BBD2-BB223E67B516}"/>
          </ac:spMkLst>
        </pc:spChg>
        <pc:spChg chg="mod">
          <ac:chgData name="Lars Ivar Hatledal" userId="da83bdda-499a-4427-8775-f375be339a54" providerId="ADAL" clId="{D4F7D428-4D3F-4D7F-A708-D669671558DA}" dt="2021-03-18T19:08:42.298" v="23051" actId="1076"/>
          <ac:spMkLst>
            <pc:docMk/>
            <pc:sldMk cId="1714680153" sldId="553"/>
            <ac:spMk id="29" creationId="{DE795856-299F-406F-8AAC-C77F5C21E708}"/>
          </ac:spMkLst>
        </pc:spChg>
        <pc:spChg chg="mod">
          <ac:chgData name="Lars Ivar Hatledal" userId="da83bdda-499a-4427-8775-f375be339a54" providerId="ADAL" clId="{D4F7D428-4D3F-4D7F-A708-D669671558DA}" dt="2021-03-18T19:08:02.623" v="23045" actId="1076"/>
          <ac:spMkLst>
            <pc:docMk/>
            <pc:sldMk cId="1714680153" sldId="553"/>
            <ac:spMk id="30" creationId="{1277E13B-FE8F-40C6-918E-2B0985BFD9E4}"/>
          </ac:spMkLst>
        </pc:spChg>
        <pc:spChg chg="mod">
          <ac:chgData name="Lars Ivar Hatledal" userId="da83bdda-499a-4427-8775-f375be339a54" providerId="ADAL" clId="{D4F7D428-4D3F-4D7F-A708-D669671558DA}" dt="2021-03-18T19:08:05.047" v="23046" actId="1076"/>
          <ac:spMkLst>
            <pc:docMk/>
            <pc:sldMk cId="1714680153" sldId="553"/>
            <ac:spMk id="31" creationId="{B03F4627-69B5-4096-B8EE-C6AA06759AB5}"/>
          </ac:spMkLst>
        </pc:spChg>
      </pc:sldChg>
      <pc:sldChg chg="modSp mod modNotesTx">
        <pc:chgData name="Lars Ivar Hatledal" userId="da83bdda-499a-4427-8775-f375be339a54" providerId="ADAL" clId="{D4F7D428-4D3F-4D7F-A708-D669671558DA}" dt="2021-03-18T21:08:42.719" v="26579" actId="20577"/>
        <pc:sldMkLst>
          <pc:docMk/>
          <pc:sldMk cId="2486047606" sldId="554"/>
        </pc:sldMkLst>
        <pc:spChg chg="mod">
          <ac:chgData name="Lars Ivar Hatledal" userId="da83bdda-499a-4427-8775-f375be339a54" providerId="ADAL" clId="{D4F7D428-4D3F-4D7F-A708-D669671558DA}" dt="2021-03-17T14:32:31.649" v="18184" actId="1076"/>
          <ac:spMkLst>
            <pc:docMk/>
            <pc:sldMk cId="2486047606" sldId="554"/>
            <ac:spMk id="18" creationId="{8FFD8F07-AB37-41F1-A809-562BC7963877}"/>
          </ac:spMkLst>
        </pc:spChg>
        <pc:cxnChg chg="mod">
          <ac:chgData name="Lars Ivar Hatledal" userId="da83bdda-499a-4427-8775-f375be339a54" providerId="ADAL" clId="{D4F7D428-4D3F-4D7F-A708-D669671558DA}" dt="2021-03-17T14:32:27.572" v="18183" actId="14100"/>
          <ac:cxnSpMkLst>
            <pc:docMk/>
            <pc:sldMk cId="2486047606" sldId="554"/>
            <ac:cxnSpMk id="15" creationId="{FCE7F82C-D19C-426B-AFCD-5C09EBE12030}"/>
          </ac:cxnSpMkLst>
        </pc:cxnChg>
      </pc:sldChg>
      <pc:sldChg chg="modSp add mod modNotesTx">
        <pc:chgData name="Lars Ivar Hatledal" userId="da83bdda-499a-4427-8775-f375be339a54" providerId="ADAL" clId="{D4F7D428-4D3F-4D7F-A708-D669671558DA}" dt="2021-03-18T21:49:57.617" v="27457" actId="20577"/>
        <pc:sldMkLst>
          <pc:docMk/>
          <pc:sldMk cId="650143799" sldId="555"/>
        </pc:sldMkLst>
        <pc:spChg chg="mod">
          <ac:chgData name="Lars Ivar Hatledal" userId="da83bdda-499a-4427-8775-f375be339a54" providerId="ADAL" clId="{D4F7D428-4D3F-4D7F-A708-D669671558DA}" dt="2021-03-18T17:46:08.304" v="19816" actId="20577"/>
          <ac:spMkLst>
            <pc:docMk/>
            <pc:sldMk cId="650143799" sldId="555"/>
            <ac:spMk id="7" creationId="{63991A79-2DF5-4987-8986-F8B6237BF2C9}"/>
          </ac:spMkLst>
        </pc:spChg>
      </pc:sldChg>
      <pc:sldChg chg="del">
        <pc:chgData name="Lars Ivar Hatledal" userId="da83bdda-499a-4427-8775-f375be339a54" providerId="ADAL" clId="{D4F7D428-4D3F-4D7F-A708-D669671558DA}" dt="2021-03-15T17:14:29.445" v="14962" actId="47"/>
        <pc:sldMkLst>
          <pc:docMk/>
          <pc:sldMk cId="3439735525" sldId="555"/>
        </pc:sldMkLst>
      </pc:sldChg>
      <pc:sldChg chg="new del">
        <pc:chgData name="Lars Ivar Hatledal" userId="da83bdda-499a-4427-8775-f375be339a54" providerId="ADAL" clId="{D4F7D428-4D3F-4D7F-A708-D669671558DA}" dt="2021-03-15T17:24:57.063" v="15299" actId="47"/>
        <pc:sldMkLst>
          <pc:docMk/>
          <pc:sldMk cId="3326738896" sldId="556"/>
        </pc:sldMkLst>
      </pc:sldChg>
      <pc:sldChg chg="modSp add mod modNotesTx">
        <pc:chgData name="Lars Ivar Hatledal" userId="da83bdda-499a-4427-8775-f375be339a54" providerId="ADAL" clId="{D4F7D428-4D3F-4D7F-A708-D669671558DA}" dt="2021-03-18T21:44:43.615" v="27381" actId="20577"/>
        <pc:sldMkLst>
          <pc:docMk/>
          <pc:sldMk cId="1497357032" sldId="557"/>
        </pc:sldMkLst>
        <pc:spChg chg="mod">
          <ac:chgData name="Lars Ivar Hatledal" userId="da83bdda-499a-4427-8775-f375be339a54" providerId="ADAL" clId="{D4F7D428-4D3F-4D7F-A708-D669671558DA}" dt="2021-03-18T21:42:58.773" v="27369" actId="20577"/>
          <ac:spMkLst>
            <pc:docMk/>
            <pc:sldMk cId="1497357032" sldId="557"/>
            <ac:spMk id="7" creationId="{63991A79-2DF5-4987-8986-F8B6237BF2C9}"/>
          </ac:spMkLst>
        </pc:spChg>
        <pc:picChg chg="mod">
          <ac:chgData name="Lars Ivar Hatledal" userId="da83bdda-499a-4427-8775-f375be339a54" providerId="ADAL" clId="{D4F7D428-4D3F-4D7F-A708-D669671558DA}" dt="2021-03-16T07:52:27.032" v="18106" actId="14100"/>
          <ac:picMkLst>
            <pc:docMk/>
            <pc:sldMk cId="1497357032" sldId="557"/>
            <ac:picMk id="24" creationId="{1DCAF517-290C-4B9A-BF40-827866B9EB0E}"/>
          </ac:picMkLst>
        </pc:picChg>
      </pc:sldChg>
      <pc:sldChg chg="modSp add del mod ord">
        <pc:chgData name="Lars Ivar Hatledal" userId="da83bdda-499a-4427-8775-f375be339a54" providerId="ADAL" clId="{D4F7D428-4D3F-4D7F-A708-D669671558DA}" dt="2021-03-18T17:29:49.355" v="18650" actId="47"/>
        <pc:sldMkLst>
          <pc:docMk/>
          <pc:sldMk cId="2146202494" sldId="558"/>
        </pc:sldMkLst>
        <pc:spChg chg="mod">
          <ac:chgData name="Lars Ivar Hatledal" userId="da83bdda-499a-4427-8775-f375be339a54" providerId="ADAL" clId="{D4F7D428-4D3F-4D7F-A708-D669671558DA}" dt="2021-03-15T18:35:15.908" v="17333" actId="20577"/>
          <ac:spMkLst>
            <pc:docMk/>
            <pc:sldMk cId="2146202494" sldId="558"/>
            <ac:spMk id="45" creationId="{ABE05CC7-87A9-4E18-AEA7-3CFE48FBF726}"/>
          </ac:spMkLst>
        </pc:spChg>
      </pc:sldChg>
      <pc:sldChg chg="addSp delSp modSp add mod modNotesTx">
        <pc:chgData name="Lars Ivar Hatledal" userId="da83bdda-499a-4427-8775-f375be339a54" providerId="ADAL" clId="{D4F7D428-4D3F-4D7F-A708-D669671558DA}" dt="2021-03-18T18:10:38.758" v="21178" actId="20577"/>
        <pc:sldMkLst>
          <pc:docMk/>
          <pc:sldMk cId="2522993446" sldId="559"/>
        </pc:sldMkLst>
        <pc:spChg chg="mod">
          <ac:chgData name="Lars Ivar Hatledal" userId="da83bdda-499a-4427-8775-f375be339a54" providerId="ADAL" clId="{D4F7D428-4D3F-4D7F-A708-D669671558DA}" dt="2021-03-15T18:36:26.568" v="17357"/>
          <ac:spMkLst>
            <pc:docMk/>
            <pc:sldMk cId="2522993446" sldId="559"/>
            <ac:spMk id="28" creationId="{49EA1253-DB8A-4C5F-A9FA-76270281AFA5}"/>
          </ac:spMkLst>
        </pc:spChg>
        <pc:spChg chg="mod">
          <ac:chgData name="Lars Ivar Hatledal" userId="da83bdda-499a-4427-8775-f375be339a54" providerId="ADAL" clId="{D4F7D428-4D3F-4D7F-A708-D669671558DA}" dt="2021-03-15T18:36:26.568" v="17357"/>
          <ac:spMkLst>
            <pc:docMk/>
            <pc:sldMk cId="2522993446" sldId="559"/>
            <ac:spMk id="29" creationId="{EA7EB816-C281-4994-AE66-03A7619047D1}"/>
          </ac:spMkLst>
        </pc:spChg>
        <pc:spChg chg="mod">
          <ac:chgData name="Lars Ivar Hatledal" userId="da83bdda-499a-4427-8775-f375be339a54" providerId="ADAL" clId="{D4F7D428-4D3F-4D7F-A708-D669671558DA}" dt="2021-03-15T18:36:26.568" v="17357"/>
          <ac:spMkLst>
            <pc:docMk/>
            <pc:sldMk cId="2522993446" sldId="559"/>
            <ac:spMk id="30" creationId="{5FDEFC5D-A920-4F12-9913-0630E1E42805}"/>
          </ac:spMkLst>
        </pc:spChg>
        <pc:spChg chg="mod">
          <ac:chgData name="Lars Ivar Hatledal" userId="da83bdda-499a-4427-8775-f375be339a54" providerId="ADAL" clId="{D4F7D428-4D3F-4D7F-A708-D669671558DA}" dt="2021-03-15T18:36:26.568" v="17357"/>
          <ac:spMkLst>
            <pc:docMk/>
            <pc:sldMk cId="2522993446" sldId="559"/>
            <ac:spMk id="31" creationId="{1F8DBE98-DC10-41EC-AE97-D77117081333}"/>
          </ac:spMkLst>
        </pc:spChg>
        <pc:spChg chg="mod">
          <ac:chgData name="Lars Ivar Hatledal" userId="da83bdda-499a-4427-8775-f375be339a54" providerId="ADAL" clId="{D4F7D428-4D3F-4D7F-A708-D669671558DA}" dt="2021-03-15T18:36:26.568" v="17357"/>
          <ac:spMkLst>
            <pc:docMk/>
            <pc:sldMk cId="2522993446" sldId="559"/>
            <ac:spMk id="32" creationId="{43D8093A-E57B-49CA-91B0-1DB9732A2E32}"/>
          </ac:spMkLst>
        </pc:spChg>
        <pc:spChg chg="mod">
          <ac:chgData name="Lars Ivar Hatledal" userId="da83bdda-499a-4427-8775-f375be339a54" providerId="ADAL" clId="{D4F7D428-4D3F-4D7F-A708-D669671558DA}" dt="2021-03-15T18:36:26.568" v="17357"/>
          <ac:spMkLst>
            <pc:docMk/>
            <pc:sldMk cId="2522993446" sldId="559"/>
            <ac:spMk id="33" creationId="{CA2074C0-10A5-4D40-AE64-9D8DF3013B29}"/>
          </ac:spMkLst>
        </pc:spChg>
        <pc:spChg chg="mod">
          <ac:chgData name="Lars Ivar Hatledal" userId="da83bdda-499a-4427-8775-f375be339a54" providerId="ADAL" clId="{D4F7D428-4D3F-4D7F-A708-D669671558DA}" dt="2021-03-15T18:36:26.568" v="17357"/>
          <ac:spMkLst>
            <pc:docMk/>
            <pc:sldMk cId="2522993446" sldId="559"/>
            <ac:spMk id="34" creationId="{07886020-8CF2-407A-8461-F298D45C531D}"/>
          </ac:spMkLst>
        </pc:spChg>
        <pc:spChg chg="mod">
          <ac:chgData name="Lars Ivar Hatledal" userId="da83bdda-499a-4427-8775-f375be339a54" providerId="ADAL" clId="{D4F7D428-4D3F-4D7F-A708-D669671558DA}" dt="2021-03-15T18:36:26.568" v="17357"/>
          <ac:spMkLst>
            <pc:docMk/>
            <pc:sldMk cId="2522993446" sldId="559"/>
            <ac:spMk id="35" creationId="{D111E322-9497-4F5A-A8FA-34031B6EF94C}"/>
          </ac:spMkLst>
        </pc:spChg>
        <pc:spChg chg="mod">
          <ac:chgData name="Lars Ivar Hatledal" userId="da83bdda-499a-4427-8775-f375be339a54" providerId="ADAL" clId="{D4F7D428-4D3F-4D7F-A708-D669671558DA}" dt="2021-03-15T18:36:26.568" v="17357"/>
          <ac:spMkLst>
            <pc:docMk/>
            <pc:sldMk cId="2522993446" sldId="559"/>
            <ac:spMk id="36" creationId="{9AE03B47-1225-4BBA-AA40-6A9223875882}"/>
          </ac:spMkLst>
        </pc:spChg>
        <pc:spChg chg="mod">
          <ac:chgData name="Lars Ivar Hatledal" userId="da83bdda-499a-4427-8775-f375be339a54" providerId="ADAL" clId="{D4F7D428-4D3F-4D7F-A708-D669671558DA}" dt="2021-03-15T18:36:26.568" v="17357"/>
          <ac:spMkLst>
            <pc:docMk/>
            <pc:sldMk cId="2522993446" sldId="559"/>
            <ac:spMk id="37" creationId="{6216D157-A904-4911-8DD6-B2BA0EFC688F}"/>
          </ac:spMkLst>
        </pc:spChg>
        <pc:spChg chg="mod">
          <ac:chgData name="Lars Ivar Hatledal" userId="da83bdda-499a-4427-8775-f375be339a54" providerId="ADAL" clId="{D4F7D428-4D3F-4D7F-A708-D669671558DA}" dt="2021-03-15T18:36:12.309" v="17354" actId="20577"/>
          <ac:spMkLst>
            <pc:docMk/>
            <pc:sldMk cId="2522993446" sldId="559"/>
            <ac:spMk id="45" creationId="{ABE05CC7-87A9-4E18-AEA7-3CFE48FBF726}"/>
          </ac:spMkLst>
        </pc:spChg>
        <pc:spChg chg="del">
          <ac:chgData name="Lars Ivar Hatledal" userId="da83bdda-499a-4427-8775-f375be339a54" providerId="ADAL" clId="{D4F7D428-4D3F-4D7F-A708-D669671558DA}" dt="2021-03-15T18:36:24.324" v="17355" actId="478"/>
          <ac:spMkLst>
            <pc:docMk/>
            <pc:sldMk cId="2522993446" sldId="559"/>
            <ac:spMk id="74" creationId="{8385F939-D6CA-4881-B3D3-4D8C91D397E6}"/>
          </ac:spMkLst>
        </pc:spChg>
        <pc:grpChg chg="add mod">
          <ac:chgData name="Lars Ivar Hatledal" userId="da83bdda-499a-4427-8775-f375be339a54" providerId="ADAL" clId="{D4F7D428-4D3F-4D7F-A708-D669671558DA}" dt="2021-03-15T18:36:26.568" v="17357"/>
          <ac:grpSpMkLst>
            <pc:docMk/>
            <pc:sldMk cId="2522993446" sldId="559"/>
            <ac:grpSpMk id="22" creationId="{0836BF3A-49EE-4112-B2E8-8B0ED6C5B770}"/>
          </ac:grpSpMkLst>
        </pc:grpChg>
        <pc:grpChg chg="mod">
          <ac:chgData name="Lars Ivar Hatledal" userId="da83bdda-499a-4427-8775-f375be339a54" providerId="ADAL" clId="{D4F7D428-4D3F-4D7F-A708-D669671558DA}" dt="2021-03-15T18:36:26.568" v="17357"/>
          <ac:grpSpMkLst>
            <pc:docMk/>
            <pc:sldMk cId="2522993446" sldId="559"/>
            <ac:grpSpMk id="23" creationId="{1C4BF698-418C-4F22-979F-0B9E4910C77C}"/>
          </ac:grpSpMkLst>
        </pc:grpChg>
        <pc:grpChg chg="mod">
          <ac:chgData name="Lars Ivar Hatledal" userId="da83bdda-499a-4427-8775-f375be339a54" providerId="ADAL" clId="{D4F7D428-4D3F-4D7F-A708-D669671558DA}" dt="2021-03-15T18:36:26.568" v="17357"/>
          <ac:grpSpMkLst>
            <pc:docMk/>
            <pc:sldMk cId="2522993446" sldId="559"/>
            <ac:grpSpMk id="24" creationId="{4A2C4587-8CA5-4C2A-8622-74FE2FB10E63}"/>
          </ac:grpSpMkLst>
        </pc:grpChg>
        <pc:grpChg chg="mod">
          <ac:chgData name="Lars Ivar Hatledal" userId="da83bdda-499a-4427-8775-f375be339a54" providerId="ADAL" clId="{D4F7D428-4D3F-4D7F-A708-D669671558DA}" dt="2021-03-15T18:36:26.568" v="17357"/>
          <ac:grpSpMkLst>
            <pc:docMk/>
            <pc:sldMk cId="2522993446" sldId="559"/>
            <ac:grpSpMk id="25" creationId="{E951AD88-0B44-4634-A840-379E5B1ED998}"/>
          </ac:grpSpMkLst>
        </pc:grpChg>
        <pc:grpChg chg="mod">
          <ac:chgData name="Lars Ivar Hatledal" userId="da83bdda-499a-4427-8775-f375be339a54" providerId="ADAL" clId="{D4F7D428-4D3F-4D7F-A708-D669671558DA}" dt="2021-03-15T18:36:26.568" v="17357"/>
          <ac:grpSpMkLst>
            <pc:docMk/>
            <pc:sldMk cId="2522993446" sldId="559"/>
            <ac:grpSpMk id="26" creationId="{B0BE335F-35AF-4F95-82E2-8C42BD6F2CD2}"/>
          </ac:grpSpMkLst>
        </pc:grpChg>
        <pc:grpChg chg="mod">
          <ac:chgData name="Lars Ivar Hatledal" userId="da83bdda-499a-4427-8775-f375be339a54" providerId="ADAL" clId="{D4F7D428-4D3F-4D7F-A708-D669671558DA}" dt="2021-03-15T18:36:26.568" v="17357"/>
          <ac:grpSpMkLst>
            <pc:docMk/>
            <pc:sldMk cId="2522993446" sldId="559"/>
            <ac:grpSpMk id="27" creationId="{2B455F3E-489C-479C-9603-FE865DE0138F}"/>
          </ac:grpSpMkLst>
        </pc:grpChg>
        <pc:grpChg chg="del">
          <ac:chgData name="Lars Ivar Hatledal" userId="da83bdda-499a-4427-8775-f375be339a54" providerId="ADAL" clId="{D4F7D428-4D3F-4D7F-A708-D669671558DA}" dt="2021-03-15T18:36:26.248" v="17356" actId="478"/>
          <ac:grpSpMkLst>
            <pc:docMk/>
            <pc:sldMk cId="2522993446" sldId="559"/>
            <ac:grpSpMk id="58" creationId="{570D39C8-0A57-47FA-9A56-383814B995CB}"/>
          </ac:grpSpMkLst>
        </pc:grpChg>
        <pc:grpChg chg="del">
          <ac:chgData name="Lars Ivar Hatledal" userId="da83bdda-499a-4427-8775-f375be339a54" providerId="ADAL" clId="{D4F7D428-4D3F-4D7F-A708-D669671558DA}" dt="2021-03-15T18:36:24.324" v="17355" actId="478"/>
          <ac:grpSpMkLst>
            <pc:docMk/>
            <pc:sldMk cId="2522993446" sldId="559"/>
            <ac:grpSpMk id="59" creationId="{E3054A9A-1077-4BDD-9A89-6BF18C114825}"/>
          </ac:grpSpMkLst>
        </pc:grpChg>
      </pc:sldChg>
      <pc:sldChg chg="new del">
        <pc:chgData name="Lars Ivar Hatledal" userId="da83bdda-499a-4427-8775-f375be339a54" providerId="ADAL" clId="{D4F7D428-4D3F-4D7F-A708-D669671558DA}" dt="2021-03-16T07:53:04.562" v="18107" actId="47"/>
        <pc:sldMkLst>
          <pc:docMk/>
          <pc:sldMk cId="1649055992" sldId="560"/>
        </pc:sldMkLst>
      </pc:sldChg>
      <pc:sldChg chg="delSp modSp add mod ord">
        <pc:chgData name="Lars Ivar Hatledal" userId="da83bdda-499a-4427-8775-f375be339a54" providerId="ADAL" clId="{D4F7D428-4D3F-4D7F-A708-D669671558DA}" dt="2021-03-18T21:43:16.185" v="27377"/>
        <pc:sldMkLst>
          <pc:docMk/>
          <pc:sldMk cId="2715989708" sldId="560"/>
        </pc:sldMkLst>
        <pc:spChg chg="del">
          <ac:chgData name="Lars Ivar Hatledal" userId="da83bdda-499a-4427-8775-f375be339a54" providerId="ADAL" clId="{D4F7D428-4D3F-4D7F-A708-D669671558DA}" dt="2021-03-17T14:30:47.623" v="18140" actId="478"/>
          <ac:spMkLst>
            <pc:docMk/>
            <pc:sldMk cId="2715989708" sldId="560"/>
            <ac:spMk id="21" creationId="{52CF71B7-A19E-4AEC-ABB6-CC3C57332298}"/>
          </ac:spMkLst>
        </pc:spChg>
        <pc:spChg chg="mod">
          <ac:chgData name="Lars Ivar Hatledal" userId="da83bdda-499a-4427-8775-f375be339a54" providerId="ADAL" clId="{D4F7D428-4D3F-4D7F-A708-D669671558DA}" dt="2021-03-18T21:43:16.185" v="27377"/>
          <ac:spMkLst>
            <pc:docMk/>
            <pc:sldMk cId="2715989708" sldId="560"/>
            <ac:spMk id="26" creationId="{F7012B31-D035-4588-A480-DACDA83B843C}"/>
          </ac:spMkLst>
        </pc:spChg>
        <pc:spChg chg="mod">
          <ac:chgData name="Lars Ivar Hatledal" userId="da83bdda-499a-4427-8775-f375be339a54" providerId="ADAL" clId="{D4F7D428-4D3F-4D7F-A708-D669671558DA}" dt="2021-03-17T14:30:57.904" v="18152" actId="20577"/>
          <ac:spMkLst>
            <pc:docMk/>
            <pc:sldMk cId="2715989708" sldId="560"/>
            <ac:spMk id="28" creationId="{48703A56-96F6-4216-B29F-75E1A68FEBED}"/>
          </ac:spMkLst>
        </pc:spChg>
        <pc:cxnChg chg="del">
          <ac:chgData name="Lars Ivar Hatledal" userId="da83bdda-499a-4427-8775-f375be339a54" providerId="ADAL" clId="{D4F7D428-4D3F-4D7F-A708-D669671558DA}" dt="2021-03-17T14:30:44.192" v="18139" actId="478"/>
          <ac:cxnSpMkLst>
            <pc:docMk/>
            <pc:sldMk cId="2715989708" sldId="560"/>
            <ac:cxnSpMk id="3" creationId="{0D0ADDF3-B537-4581-950E-D606712EE179}"/>
          </ac:cxnSpMkLst>
        </pc:cxnChg>
      </pc:sldChg>
    </pc:docChg>
  </pc:docChgLst>
  <pc:docChgLst>
    <pc:chgData name="Tongtong Wang" userId="5026a17a-445d-4aa4-bcd4-da2975ecf913" providerId="ADAL" clId="{A6CCC679-FCE4-4F48-8B64-AC9CABB72371}"/>
    <pc:docChg chg="custSel modSld">
      <pc:chgData name="Tongtong Wang" userId="5026a17a-445d-4aa4-bcd4-da2975ecf913" providerId="ADAL" clId="{A6CCC679-FCE4-4F48-8B64-AC9CABB72371}" dt="2022-09-05T12:09:50.421" v="24" actId="20577"/>
      <pc:docMkLst>
        <pc:docMk/>
      </pc:docMkLst>
      <pc:sldChg chg="modSp mod">
        <pc:chgData name="Tongtong Wang" userId="5026a17a-445d-4aa4-bcd4-da2975ecf913" providerId="ADAL" clId="{A6CCC679-FCE4-4F48-8B64-AC9CABB72371}" dt="2022-09-05T12:09:50.421" v="24" actId="20577"/>
        <pc:sldMkLst>
          <pc:docMk/>
          <pc:sldMk cId="3243102052" sldId="256"/>
        </pc:sldMkLst>
        <pc:spChg chg="mod">
          <ac:chgData name="Tongtong Wang" userId="5026a17a-445d-4aa4-bcd4-da2975ecf913" providerId="ADAL" clId="{A6CCC679-FCE4-4F48-8B64-AC9CABB72371}" dt="2022-09-05T12:09:50.421" v="24" actId="20577"/>
          <ac:spMkLst>
            <pc:docMk/>
            <pc:sldMk cId="3243102052" sldId="256"/>
            <ac:spMk id="3" creationId="{00000000-0000-0000-0000-000000000000}"/>
          </ac:spMkLst>
        </pc:spChg>
      </pc:sldChg>
    </pc:docChg>
  </pc:docChgLst>
  <pc:docChgLst>
    <pc:chgData name="Tongtong Wang" userId="5026a17a-445d-4aa4-bcd4-da2975ecf913" providerId="ADAL" clId="{2E6CCF4E-53D5-45A2-8BC1-DD4410D02BCD}"/>
    <pc:docChg chg="undo custSel addSld delSld modSld sldOrd">
      <pc:chgData name="Tongtong Wang" userId="5026a17a-445d-4aa4-bcd4-da2975ecf913" providerId="ADAL" clId="{2E6CCF4E-53D5-45A2-8BC1-DD4410D02BCD}" dt="2022-07-12T13:22:09.565" v="3190" actId="1076"/>
      <pc:docMkLst>
        <pc:docMk/>
      </pc:docMkLst>
      <pc:sldChg chg="addSp delSp modSp mod modNotesTx">
        <pc:chgData name="Tongtong Wang" userId="5026a17a-445d-4aa4-bcd4-da2975ecf913" providerId="ADAL" clId="{2E6CCF4E-53D5-45A2-8BC1-DD4410D02BCD}" dt="2022-07-12T13:22:09.565" v="3190" actId="1076"/>
        <pc:sldMkLst>
          <pc:docMk/>
          <pc:sldMk cId="3243102052" sldId="256"/>
        </pc:sldMkLst>
        <pc:spChg chg="mod">
          <ac:chgData name="Tongtong Wang" userId="5026a17a-445d-4aa4-bcd4-da2975ecf913" providerId="ADAL" clId="{2E6CCF4E-53D5-45A2-8BC1-DD4410D02BCD}" dt="2022-07-12T13:21:46.273" v="3184" actId="1076"/>
          <ac:spMkLst>
            <pc:docMk/>
            <pc:sldMk cId="3243102052" sldId="256"/>
            <ac:spMk id="2" creationId="{00000000-0000-0000-0000-000000000000}"/>
          </ac:spMkLst>
        </pc:spChg>
        <pc:spChg chg="mod">
          <ac:chgData name="Tongtong Wang" userId="5026a17a-445d-4aa4-bcd4-da2975ecf913" providerId="ADAL" clId="{2E6CCF4E-53D5-45A2-8BC1-DD4410D02BCD}" dt="2022-07-12T13:22:09.565" v="3190" actId="1076"/>
          <ac:spMkLst>
            <pc:docMk/>
            <pc:sldMk cId="3243102052" sldId="256"/>
            <ac:spMk id="3" creationId="{00000000-0000-0000-0000-000000000000}"/>
          </ac:spMkLst>
        </pc:spChg>
        <pc:spChg chg="mod">
          <ac:chgData name="Tongtong Wang" userId="5026a17a-445d-4aa4-bcd4-da2975ecf913" providerId="ADAL" clId="{2E6CCF4E-53D5-45A2-8BC1-DD4410D02BCD}" dt="2022-07-12T13:21:23.409" v="3178" actId="207"/>
          <ac:spMkLst>
            <pc:docMk/>
            <pc:sldMk cId="3243102052" sldId="256"/>
            <ac:spMk id="9" creationId="{00000000-0000-0000-0000-000000000000}"/>
          </ac:spMkLst>
        </pc:spChg>
        <pc:picChg chg="add mod ord">
          <ac:chgData name="Tongtong Wang" userId="5026a17a-445d-4aa4-bcd4-da2975ecf913" providerId="ADAL" clId="{2E6CCF4E-53D5-45A2-8BC1-DD4410D02BCD}" dt="2022-07-12T13:21:26.128" v="3179" actId="14100"/>
          <ac:picMkLst>
            <pc:docMk/>
            <pc:sldMk cId="3243102052" sldId="256"/>
            <ac:picMk id="7" creationId="{7B62D430-31DD-423E-96FA-5CBCF98D6A58}"/>
          </ac:picMkLst>
        </pc:picChg>
        <pc:picChg chg="add del mod">
          <ac:chgData name="Tongtong Wang" userId="5026a17a-445d-4aa4-bcd4-da2975ecf913" providerId="ADAL" clId="{2E6CCF4E-53D5-45A2-8BC1-DD4410D02BCD}" dt="2022-07-04T11:33:01.811" v="461" actId="478"/>
          <ac:picMkLst>
            <pc:docMk/>
            <pc:sldMk cId="3243102052" sldId="256"/>
            <ac:picMk id="7" creationId="{BECA4EE6-557F-4FE6-A0F9-182F42433BC4}"/>
          </ac:picMkLst>
        </pc:picChg>
        <pc:picChg chg="add del mod">
          <ac:chgData name="Tongtong Wang" userId="5026a17a-445d-4aa4-bcd4-da2975ecf913" providerId="ADAL" clId="{2E6CCF4E-53D5-45A2-8BC1-DD4410D02BCD}" dt="2022-07-04T11:35:04.577" v="573" actId="21"/>
          <ac:picMkLst>
            <pc:docMk/>
            <pc:sldMk cId="3243102052" sldId="256"/>
            <ac:picMk id="8" creationId="{EDF5DF11-BF90-44A8-9725-95033893DDC6}"/>
          </ac:picMkLst>
        </pc:picChg>
      </pc:sldChg>
      <pc:sldChg chg="addSp modSp del mod modNotesTx">
        <pc:chgData name="Tongtong Wang" userId="5026a17a-445d-4aa4-bcd4-da2975ecf913" providerId="ADAL" clId="{2E6CCF4E-53D5-45A2-8BC1-DD4410D02BCD}" dt="2022-07-12T10:34:33.027" v="3154" actId="47"/>
        <pc:sldMkLst>
          <pc:docMk/>
          <pc:sldMk cId="2782561695" sldId="370"/>
        </pc:sldMkLst>
        <pc:spChg chg="mod">
          <ac:chgData name="Tongtong Wang" userId="5026a17a-445d-4aa4-bcd4-da2975ecf913" providerId="ADAL" clId="{2E6CCF4E-53D5-45A2-8BC1-DD4410D02BCD}" dt="2022-07-04T11:23:11.184" v="221" actId="20577"/>
          <ac:spMkLst>
            <pc:docMk/>
            <pc:sldMk cId="2782561695" sldId="370"/>
            <ac:spMk id="7" creationId="{63991A79-2DF5-4987-8986-F8B6237BF2C9}"/>
          </ac:spMkLst>
        </pc:spChg>
        <pc:picChg chg="add mod">
          <ac:chgData name="Tongtong Wang" userId="5026a17a-445d-4aa4-bcd4-da2975ecf913" providerId="ADAL" clId="{2E6CCF4E-53D5-45A2-8BC1-DD4410D02BCD}" dt="2022-07-04T11:35:07.069" v="575" actId="1076"/>
          <ac:picMkLst>
            <pc:docMk/>
            <pc:sldMk cId="2782561695" sldId="370"/>
            <ac:picMk id="24" creationId="{A471EE76-3593-4B3C-AC22-2FFE3A44882E}"/>
          </ac:picMkLst>
        </pc:picChg>
      </pc:sldChg>
      <pc:sldChg chg="del">
        <pc:chgData name="Tongtong Wang" userId="5026a17a-445d-4aa4-bcd4-da2975ecf913" providerId="ADAL" clId="{2E6CCF4E-53D5-45A2-8BC1-DD4410D02BCD}" dt="2022-07-12T10:10:01.736" v="2686" actId="47"/>
        <pc:sldMkLst>
          <pc:docMk/>
          <pc:sldMk cId="3209679213" sldId="491"/>
        </pc:sldMkLst>
      </pc:sldChg>
      <pc:sldChg chg="del">
        <pc:chgData name="Tongtong Wang" userId="5026a17a-445d-4aa4-bcd4-da2975ecf913" providerId="ADAL" clId="{2E6CCF4E-53D5-45A2-8BC1-DD4410D02BCD}" dt="2022-07-12T10:10:01.736" v="2686" actId="47"/>
        <pc:sldMkLst>
          <pc:docMk/>
          <pc:sldMk cId="3664475662" sldId="501"/>
        </pc:sldMkLst>
      </pc:sldChg>
      <pc:sldChg chg="del">
        <pc:chgData name="Tongtong Wang" userId="5026a17a-445d-4aa4-bcd4-da2975ecf913" providerId="ADAL" clId="{2E6CCF4E-53D5-45A2-8BC1-DD4410D02BCD}" dt="2022-07-12T10:10:01.736" v="2686" actId="47"/>
        <pc:sldMkLst>
          <pc:docMk/>
          <pc:sldMk cId="654040728" sldId="502"/>
        </pc:sldMkLst>
      </pc:sldChg>
      <pc:sldChg chg="del">
        <pc:chgData name="Tongtong Wang" userId="5026a17a-445d-4aa4-bcd4-da2975ecf913" providerId="ADAL" clId="{2E6CCF4E-53D5-45A2-8BC1-DD4410D02BCD}" dt="2022-07-12T10:10:01.736" v="2686" actId="47"/>
        <pc:sldMkLst>
          <pc:docMk/>
          <pc:sldMk cId="1043329679" sldId="503"/>
        </pc:sldMkLst>
      </pc:sldChg>
      <pc:sldChg chg="del">
        <pc:chgData name="Tongtong Wang" userId="5026a17a-445d-4aa4-bcd4-da2975ecf913" providerId="ADAL" clId="{2E6CCF4E-53D5-45A2-8BC1-DD4410D02BCD}" dt="2022-07-12T10:10:01.736" v="2686" actId="47"/>
        <pc:sldMkLst>
          <pc:docMk/>
          <pc:sldMk cId="1770612176" sldId="504"/>
        </pc:sldMkLst>
      </pc:sldChg>
      <pc:sldChg chg="del">
        <pc:chgData name="Tongtong Wang" userId="5026a17a-445d-4aa4-bcd4-da2975ecf913" providerId="ADAL" clId="{2E6CCF4E-53D5-45A2-8BC1-DD4410D02BCD}" dt="2022-07-12T10:10:01.736" v="2686" actId="47"/>
        <pc:sldMkLst>
          <pc:docMk/>
          <pc:sldMk cId="2852395672" sldId="505"/>
        </pc:sldMkLst>
      </pc:sldChg>
      <pc:sldChg chg="del">
        <pc:chgData name="Tongtong Wang" userId="5026a17a-445d-4aa4-bcd4-da2975ecf913" providerId="ADAL" clId="{2E6CCF4E-53D5-45A2-8BC1-DD4410D02BCD}" dt="2022-07-12T10:10:01.736" v="2686" actId="47"/>
        <pc:sldMkLst>
          <pc:docMk/>
          <pc:sldMk cId="3412211343" sldId="507"/>
        </pc:sldMkLst>
      </pc:sldChg>
      <pc:sldChg chg="del">
        <pc:chgData name="Tongtong Wang" userId="5026a17a-445d-4aa4-bcd4-da2975ecf913" providerId="ADAL" clId="{2E6CCF4E-53D5-45A2-8BC1-DD4410D02BCD}" dt="2022-07-12T10:10:01.736" v="2686" actId="47"/>
        <pc:sldMkLst>
          <pc:docMk/>
          <pc:sldMk cId="1200325548" sldId="508"/>
        </pc:sldMkLst>
      </pc:sldChg>
      <pc:sldChg chg="del">
        <pc:chgData name="Tongtong Wang" userId="5026a17a-445d-4aa4-bcd4-da2975ecf913" providerId="ADAL" clId="{2E6CCF4E-53D5-45A2-8BC1-DD4410D02BCD}" dt="2022-07-12T10:10:01.736" v="2686" actId="47"/>
        <pc:sldMkLst>
          <pc:docMk/>
          <pc:sldMk cId="2906686999" sldId="509"/>
        </pc:sldMkLst>
      </pc:sldChg>
      <pc:sldChg chg="del">
        <pc:chgData name="Tongtong Wang" userId="5026a17a-445d-4aa4-bcd4-da2975ecf913" providerId="ADAL" clId="{2E6CCF4E-53D5-45A2-8BC1-DD4410D02BCD}" dt="2022-07-12T10:10:01.736" v="2686" actId="47"/>
        <pc:sldMkLst>
          <pc:docMk/>
          <pc:sldMk cId="2505317772" sldId="510"/>
        </pc:sldMkLst>
      </pc:sldChg>
      <pc:sldChg chg="del">
        <pc:chgData name="Tongtong Wang" userId="5026a17a-445d-4aa4-bcd4-da2975ecf913" providerId="ADAL" clId="{2E6CCF4E-53D5-45A2-8BC1-DD4410D02BCD}" dt="2022-07-12T10:10:01.736" v="2686" actId="47"/>
        <pc:sldMkLst>
          <pc:docMk/>
          <pc:sldMk cId="3381423696" sldId="511"/>
        </pc:sldMkLst>
      </pc:sldChg>
      <pc:sldChg chg="del">
        <pc:chgData name="Tongtong Wang" userId="5026a17a-445d-4aa4-bcd4-da2975ecf913" providerId="ADAL" clId="{2E6CCF4E-53D5-45A2-8BC1-DD4410D02BCD}" dt="2022-07-12T10:10:01.736" v="2686" actId="47"/>
        <pc:sldMkLst>
          <pc:docMk/>
          <pc:sldMk cId="2093270173" sldId="513"/>
        </pc:sldMkLst>
      </pc:sldChg>
      <pc:sldChg chg="del modNotesTx">
        <pc:chgData name="Tongtong Wang" userId="5026a17a-445d-4aa4-bcd4-da2975ecf913" providerId="ADAL" clId="{2E6CCF4E-53D5-45A2-8BC1-DD4410D02BCD}" dt="2022-07-04T11:23:52.796" v="223" actId="47"/>
        <pc:sldMkLst>
          <pc:docMk/>
          <pc:sldMk cId="1277125344" sldId="514"/>
        </pc:sldMkLst>
      </pc:sldChg>
      <pc:sldChg chg="del">
        <pc:chgData name="Tongtong Wang" userId="5026a17a-445d-4aa4-bcd4-da2975ecf913" providerId="ADAL" clId="{2E6CCF4E-53D5-45A2-8BC1-DD4410D02BCD}" dt="2022-07-12T10:10:01.736" v="2686" actId="47"/>
        <pc:sldMkLst>
          <pc:docMk/>
          <pc:sldMk cId="2969954107" sldId="515"/>
        </pc:sldMkLst>
      </pc:sldChg>
      <pc:sldChg chg="del">
        <pc:chgData name="Tongtong Wang" userId="5026a17a-445d-4aa4-bcd4-da2975ecf913" providerId="ADAL" clId="{2E6CCF4E-53D5-45A2-8BC1-DD4410D02BCD}" dt="2022-07-12T10:10:01.736" v="2686" actId="47"/>
        <pc:sldMkLst>
          <pc:docMk/>
          <pc:sldMk cId="2321556187" sldId="516"/>
        </pc:sldMkLst>
      </pc:sldChg>
      <pc:sldChg chg="del">
        <pc:chgData name="Tongtong Wang" userId="5026a17a-445d-4aa4-bcd4-da2975ecf913" providerId="ADAL" clId="{2E6CCF4E-53D5-45A2-8BC1-DD4410D02BCD}" dt="2022-07-12T10:10:01.736" v="2686" actId="47"/>
        <pc:sldMkLst>
          <pc:docMk/>
          <pc:sldMk cId="1014196345" sldId="517"/>
        </pc:sldMkLst>
      </pc:sldChg>
      <pc:sldChg chg="del">
        <pc:chgData name="Tongtong Wang" userId="5026a17a-445d-4aa4-bcd4-da2975ecf913" providerId="ADAL" clId="{2E6CCF4E-53D5-45A2-8BC1-DD4410D02BCD}" dt="2022-07-12T10:10:01.736" v="2686" actId="47"/>
        <pc:sldMkLst>
          <pc:docMk/>
          <pc:sldMk cId="1171378971" sldId="518"/>
        </pc:sldMkLst>
      </pc:sldChg>
      <pc:sldChg chg="del">
        <pc:chgData name="Tongtong Wang" userId="5026a17a-445d-4aa4-bcd4-da2975ecf913" providerId="ADAL" clId="{2E6CCF4E-53D5-45A2-8BC1-DD4410D02BCD}" dt="2022-07-12T10:10:01.736" v="2686" actId="47"/>
        <pc:sldMkLst>
          <pc:docMk/>
          <pc:sldMk cId="1671744915" sldId="519"/>
        </pc:sldMkLst>
      </pc:sldChg>
      <pc:sldChg chg="del">
        <pc:chgData name="Tongtong Wang" userId="5026a17a-445d-4aa4-bcd4-da2975ecf913" providerId="ADAL" clId="{2E6CCF4E-53D5-45A2-8BC1-DD4410D02BCD}" dt="2022-07-12T10:10:01.736" v="2686" actId="47"/>
        <pc:sldMkLst>
          <pc:docMk/>
          <pc:sldMk cId="1815193164" sldId="520"/>
        </pc:sldMkLst>
      </pc:sldChg>
      <pc:sldChg chg="del">
        <pc:chgData name="Tongtong Wang" userId="5026a17a-445d-4aa4-bcd4-da2975ecf913" providerId="ADAL" clId="{2E6CCF4E-53D5-45A2-8BC1-DD4410D02BCD}" dt="2022-07-12T10:10:01.736" v="2686" actId="47"/>
        <pc:sldMkLst>
          <pc:docMk/>
          <pc:sldMk cId="3164644392" sldId="521"/>
        </pc:sldMkLst>
      </pc:sldChg>
      <pc:sldChg chg="del">
        <pc:chgData name="Tongtong Wang" userId="5026a17a-445d-4aa4-bcd4-da2975ecf913" providerId="ADAL" clId="{2E6CCF4E-53D5-45A2-8BC1-DD4410D02BCD}" dt="2022-07-12T10:10:01.736" v="2686" actId="47"/>
        <pc:sldMkLst>
          <pc:docMk/>
          <pc:sldMk cId="1287895440" sldId="522"/>
        </pc:sldMkLst>
      </pc:sldChg>
      <pc:sldChg chg="del">
        <pc:chgData name="Tongtong Wang" userId="5026a17a-445d-4aa4-bcd4-da2975ecf913" providerId="ADAL" clId="{2E6CCF4E-53D5-45A2-8BC1-DD4410D02BCD}" dt="2022-07-12T10:10:01.736" v="2686" actId="47"/>
        <pc:sldMkLst>
          <pc:docMk/>
          <pc:sldMk cId="2661568086" sldId="523"/>
        </pc:sldMkLst>
      </pc:sldChg>
      <pc:sldChg chg="del">
        <pc:chgData name="Tongtong Wang" userId="5026a17a-445d-4aa4-bcd4-da2975ecf913" providerId="ADAL" clId="{2E6CCF4E-53D5-45A2-8BC1-DD4410D02BCD}" dt="2022-07-12T10:10:01.736" v="2686" actId="47"/>
        <pc:sldMkLst>
          <pc:docMk/>
          <pc:sldMk cId="459986806" sldId="524"/>
        </pc:sldMkLst>
      </pc:sldChg>
      <pc:sldChg chg="del">
        <pc:chgData name="Tongtong Wang" userId="5026a17a-445d-4aa4-bcd4-da2975ecf913" providerId="ADAL" clId="{2E6CCF4E-53D5-45A2-8BC1-DD4410D02BCD}" dt="2022-07-12T10:10:01.736" v="2686" actId="47"/>
        <pc:sldMkLst>
          <pc:docMk/>
          <pc:sldMk cId="818789249" sldId="526"/>
        </pc:sldMkLst>
      </pc:sldChg>
      <pc:sldChg chg="del">
        <pc:chgData name="Tongtong Wang" userId="5026a17a-445d-4aa4-bcd4-da2975ecf913" providerId="ADAL" clId="{2E6CCF4E-53D5-45A2-8BC1-DD4410D02BCD}" dt="2022-07-12T10:10:01.736" v="2686" actId="47"/>
        <pc:sldMkLst>
          <pc:docMk/>
          <pc:sldMk cId="2908066437" sldId="527"/>
        </pc:sldMkLst>
      </pc:sldChg>
      <pc:sldChg chg="del">
        <pc:chgData name="Tongtong Wang" userId="5026a17a-445d-4aa4-bcd4-da2975ecf913" providerId="ADAL" clId="{2E6CCF4E-53D5-45A2-8BC1-DD4410D02BCD}" dt="2022-07-12T10:10:01.736" v="2686" actId="47"/>
        <pc:sldMkLst>
          <pc:docMk/>
          <pc:sldMk cId="3620096238" sldId="529"/>
        </pc:sldMkLst>
      </pc:sldChg>
      <pc:sldChg chg="del">
        <pc:chgData name="Tongtong Wang" userId="5026a17a-445d-4aa4-bcd4-da2975ecf913" providerId="ADAL" clId="{2E6CCF4E-53D5-45A2-8BC1-DD4410D02BCD}" dt="2022-07-12T10:10:01.736" v="2686" actId="47"/>
        <pc:sldMkLst>
          <pc:docMk/>
          <pc:sldMk cId="819150806" sldId="530"/>
        </pc:sldMkLst>
      </pc:sldChg>
      <pc:sldChg chg="del">
        <pc:chgData name="Tongtong Wang" userId="5026a17a-445d-4aa4-bcd4-da2975ecf913" providerId="ADAL" clId="{2E6CCF4E-53D5-45A2-8BC1-DD4410D02BCD}" dt="2022-07-12T10:10:01.736" v="2686" actId="47"/>
        <pc:sldMkLst>
          <pc:docMk/>
          <pc:sldMk cId="467438431" sldId="531"/>
        </pc:sldMkLst>
      </pc:sldChg>
      <pc:sldChg chg="del">
        <pc:chgData name="Tongtong Wang" userId="5026a17a-445d-4aa4-bcd4-da2975ecf913" providerId="ADAL" clId="{2E6CCF4E-53D5-45A2-8BC1-DD4410D02BCD}" dt="2022-07-12T10:10:01.736" v="2686" actId="47"/>
        <pc:sldMkLst>
          <pc:docMk/>
          <pc:sldMk cId="3364103302" sldId="532"/>
        </pc:sldMkLst>
      </pc:sldChg>
      <pc:sldChg chg="del">
        <pc:chgData name="Tongtong Wang" userId="5026a17a-445d-4aa4-bcd4-da2975ecf913" providerId="ADAL" clId="{2E6CCF4E-53D5-45A2-8BC1-DD4410D02BCD}" dt="2022-07-12T10:10:01.736" v="2686" actId="47"/>
        <pc:sldMkLst>
          <pc:docMk/>
          <pc:sldMk cId="1421562340" sldId="534"/>
        </pc:sldMkLst>
      </pc:sldChg>
      <pc:sldChg chg="del">
        <pc:chgData name="Tongtong Wang" userId="5026a17a-445d-4aa4-bcd4-da2975ecf913" providerId="ADAL" clId="{2E6CCF4E-53D5-45A2-8BC1-DD4410D02BCD}" dt="2022-07-12T10:10:01.736" v="2686" actId="47"/>
        <pc:sldMkLst>
          <pc:docMk/>
          <pc:sldMk cId="597095498" sldId="535"/>
        </pc:sldMkLst>
      </pc:sldChg>
      <pc:sldChg chg="del">
        <pc:chgData name="Tongtong Wang" userId="5026a17a-445d-4aa4-bcd4-da2975ecf913" providerId="ADAL" clId="{2E6CCF4E-53D5-45A2-8BC1-DD4410D02BCD}" dt="2022-07-12T10:10:01.736" v="2686" actId="47"/>
        <pc:sldMkLst>
          <pc:docMk/>
          <pc:sldMk cId="1225024776" sldId="537"/>
        </pc:sldMkLst>
      </pc:sldChg>
      <pc:sldChg chg="addSp delSp modSp mod delAnim modAnim modNotesTx">
        <pc:chgData name="Tongtong Wang" userId="5026a17a-445d-4aa4-bcd4-da2975ecf913" providerId="ADAL" clId="{2E6CCF4E-53D5-45A2-8BC1-DD4410D02BCD}" dt="2022-07-12T10:24:24.348" v="2744" actId="404"/>
        <pc:sldMkLst>
          <pc:docMk/>
          <pc:sldMk cId="1353464509" sldId="539"/>
        </pc:sldMkLst>
        <pc:spChg chg="add">
          <ac:chgData name="Tongtong Wang" userId="5026a17a-445d-4aa4-bcd4-da2975ecf913" providerId="ADAL" clId="{2E6CCF4E-53D5-45A2-8BC1-DD4410D02BCD}" dt="2022-07-04T13:43:31.879" v="1192"/>
          <ac:spMkLst>
            <pc:docMk/>
            <pc:sldMk cId="1353464509" sldId="539"/>
            <ac:spMk id="5" creationId="{ADF8557D-1AB5-443F-B110-F111C525CAE2}"/>
          </ac:spMkLst>
        </pc:spChg>
        <pc:spChg chg="add del mod">
          <ac:chgData name="Tongtong Wang" userId="5026a17a-445d-4aa4-bcd4-da2975ecf913" providerId="ADAL" clId="{2E6CCF4E-53D5-45A2-8BC1-DD4410D02BCD}" dt="2022-07-04T13:43:36.147" v="1194"/>
          <ac:spMkLst>
            <pc:docMk/>
            <pc:sldMk cId="1353464509" sldId="539"/>
            <ac:spMk id="6" creationId="{5841A918-9BC8-4EAE-8430-D60BDBFCB791}"/>
          </ac:spMkLst>
        </pc:spChg>
        <pc:spChg chg="mod">
          <ac:chgData name="Tongtong Wang" userId="5026a17a-445d-4aa4-bcd4-da2975ecf913" providerId="ADAL" clId="{2E6CCF4E-53D5-45A2-8BC1-DD4410D02BCD}" dt="2022-07-11T12:36:25.825" v="1835" actId="20577"/>
          <ac:spMkLst>
            <pc:docMk/>
            <pc:sldMk cId="1353464509" sldId="539"/>
            <ac:spMk id="7" creationId="{63991A79-2DF5-4987-8986-F8B6237BF2C9}"/>
          </ac:spMkLst>
        </pc:spChg>
        <pc:spChg chg="add del mod">
          <ac:chgData name="Tongtong Wang" userId="5026a17a-445d-4aa4-bcd4-da2975ecf913" providerId="ADAL" clId="{2E6CCF4E-53D5-45A2-8BC1-DD4410D02BCD}" dt="2022-07-04T13:43:48.931" v="1198" actId="478"/>
          <ac:spMkLst>
            <pc:docMk/>
            <pc:sldMk cId="1353464509" sldId="539"/>
            <ac:spMk id="8" creationId="{FF26CB03-4FA7-4143-A043-44B13A1CBAAD}"/>
          </ac:spMkLst>
        </pc:spChg>
        <pc:spChg chg="add del mod">
          <ac:chgData name="Tongtong Wang" userId="5026a17a-445d-4aa4-bcd4-da2975ecf913" providerId="ADAL" clId="{2E6CCF4E-53D5-45A2-8BC1-DD4410D02BCD}" dt="2022-07-04T13:44:11.608" v="1204" actId="478"/>
          <ac:spMkLst>
            <pc:docMk/>
            <pc:sldMk cId="1353464509" sldId="539"/>
            <ac:spMk id="9" creationId="{31C8147A-A18A-4E0B-8DCC-D70A05D4B49E}"/>
          </ac:spMkLst>
        </pc:spChg>
        <pc:spChg chg="add mod">
          <ac:chgData name="Tongtong Wang" userId="5026a17a-445d-4aa4-bcd4-da2975ecf913" providerId="ADAL" clId="{2E6CCF4E-53D5-45A2-8BC1-DD4410D02BCD}" dt="2022-07-04T13:46:01.747" v="1212" actId="1076"/>
          <ac:spMkLst>
            <pc:docMk/>
            <pc:sldMk cId="1353464509" sldId="539"/>
            <ac:spMk id="29" creationId="{EBD9FE7C-CD72-4B7B-AD05-8DC094692138}"/>
          </ac:spMkLst>
        </pc:spChg>
        <pc:spChg chg="add mod">
          <ac:chgData name="Tongtong Wang" userId="5026a17a-445d-4aa4-bcd4-da2975ecf913" providerId="ADAL" clId="{2E6CCF4E-53D5-45A2-8BC1-DD4410D02BCD}" dt="2022-07-12T10:24:24.348" v="2744" actId="404"/>
          <ac:spMkLst>
            <pc:docMk/>
            <pc:sldMk cId="1353464509" sldId="539"/>
            <ac:spMk id="31" creationId="{47A92B6B-ED9B-41D4-9D80-DA9036CCEDAF}"/>
          </ac:spMkLst>
        </pc:spChg>
        <pc:spChg chg="mod">
          <ac:chgData name="Tongtong Wang" userId="5026a17a-445d-4aa4-bcd4-da2975ecf913" providerId="ADAL" clId="{2E6CCF4E-53D5-45A2-8BC1-DD4410D02BCD}" dt="2022-07-04T11:28:03.202" v="357" actId="20577"/>
          <ac:spMkLst>
            <pc:docMk/>
            <pc:sldMk cId="1353464509" sldId="539"/>
            <ac:spMk id="45" creationId="{ABE05CC7-87A9-4E18-AEA7-3CFE48FBF726}"/>
          </ac:spMkLst>
        </pc:spChg>
        <pc:grpChg chg="del">
          <ac:chgData name="Tongtong Wang" userId="5026a17a-445d-4aa4-bcd4-da2975ecf913" providerId="ADAL" clId="{2E6CCF4E-53D5-45A2-8BC1-DD4410D02BCD}" dt="2022-07-04T12:35:40.916" v="893" actId="478"/>
          <ac:grpSpMkLst>
            <pc:docMk/>
            <pc:sldMk cId="1353464509" sldId="539"/>
            <ac:grpSpMk id="76" creationId="{E94368C8-011E-44CE-A105-66EFFEE62DE1}"/>
          </ac:grpSpMkLst>
        </pc:grpChg>
        <pc:picChg chg="add del mod">
          <ac:chgData name="Tongtong Wang" userId="5026a17a-445d-4aa4-bcd4-da2975ecf913" providerId="ADAL" clId="{2E6CCF4E-53D5-45A2-8BC1-DD4410D02BCD}" dt="2022-07-04T12:25:41.782" v="781" actId="21"/>
          <ac:picMkLst>
            <pc:docMk/>
            <pc:sldMk cId="1353464509" sldId="539"/>
            <ac:picMk id="4" creationId="{A5279584-096D-4DE8-944D-C1B9A53FF12C}"/>
          </ac:picMkLst>
        </pc:picChg>
        <pc:picChg chg="del">
          <ac:chgData name="Tongtong Wang" userId="5026a17a-445d-4aa4-bcd4-da2975ecf913" providerId="ADAL" clId="{2E6CCF4E-53D5-45A2-8BC1-DD4410D02BCD}" dt="2022-07-04T11:34:17.747" v="565" actId="478"/>
          <ac:picMkLst>
            <pc:docMk/>
            <pc:sldMk cId="1353464509" sldId="539"/>
            <ac:picMk id="24" creationId="{F45113E7-DD34-4D0D-A470-FC10859F5F17}"/>
          </ac:picMkLst>
        </pc:picChg>
        <pc:picChg chg="add del mod">
          <ac:chgData name="Tongtong Wang" userId="5026a17a-445d-4aa4-bcd4-da2975ecf913" providerId="ADAL" clId="{2E6CCF4E-53D5-45A2-8BC1-DD4410D02BCD}" dt="2022-07-04T11:32:03.228" v="455"/>
          <ac:picMkLst>
            <pc:docMk/>
            <pc:sldMk cId="1353464509" sldId="539"/>
            <ac:picMk id="3076" creationId="{CE84E68E-C3A7-4B8A-92E1-9FEE611D38A6}"/>
          </ac:picMkLst>
        </pc:picChg>
        <pc:picChg chg="add del mod">
          <ac:chgData name="Tongtong Wang" userId="5026a17a-445d-4aa4-bcd4-da2975ecf913" providerId="ADAL" clId="{2E6CCF4E-53D5-45A2-8BC1-DD4410D02BCD}" dt="2022-07-04T11:35:19.420" v="576" actId="478"/>
          <ac:picMkLst>
            <pc:docMk/>
            <pc:sldMk cId="1353464509" sldId="539"/>
            <ac:picMk id="3078" creationId="{A8B5F0C8-87BB-446F-B7C0-CFFD6F7F26F3}"/>
          </ac:picMkLst>
        </pc:picChg>
        <pc:picChg chg="add mod">
          <ac:chgData name="Tongtong Wang" userId="5026a17a-445d-4aa4-bcd4-da2975ecf913" providerId="ADAL" clId="{2E6CCF4E-53D5-45A2-8BC1-DD4410D02BCD}" dt="2022-07-11T12:12:49.445" v="1753" actId="1076"/>
          <ac:picMkLst>
            <pc:docMk/>
            <pc:sldMk cId="1353464509" sldId="539"/>
            <ac:picMk id="3080" creationId="{755106FA-9FD6-4865-BD7A-7E049965668D}"/>
          </ac:picMkLst>
        </pc:picChg>
        <pc:picChg chg="add mod">
          <ac:chgData name="Tongtong Wang" userId="5026a17a-445d-4aa4-bcd4-da2975ecf913" providerId="ADAL" clId="{2E6CCF4E-53D5-45A2-8BC1-DD4410D02BCD}" dt="2022-07-11T12:12:38.267" v="1752" actId="1076"/>
          <ac:picMkLst>
            <pc:docMk/>
            <pc:sldMk cId="1353464509" sldId="539"/>
            <ac:picMk id="3090" creationId="{95321200-D0F6-456B-959C-075269420345}"/>
          </ac:picMkLst>
        </pc:picChg>
        <pc:cxnChg chg="del">
          <ac:chgData name="Tongtong Wang" userId="5026a17a-445d-4aa4-bcd4-da2975ecf913" providerId="ADAL" clId="{2E6CCF4E-53D5-45A2-8BC1-DD4410D02BCD}" dt="2022-07-04T12:35:40.916" v="893" actId="478"/>
          <ac:cxnSpMkLst>
            <pc:docMk/>
            <pc:sldMk cId="1353464509" sldId="539"/>
            <ac:cxnSpMk id="64" creationId="{385CF43D-468C-4F4A-879D-2DB72BCDB722}"/>
          </ac:cxnSpMkLst>
        </pc:cxnChg>
      </pc:sldChg>
      <pc:sldChg chg="del">
        <pc:chgData name="Tongtong Wang" userId="5026a17a-445d-4aa4-bcd4-da2975ecf913" providerId="ADAL" clId="{2E6CCF4E-53D5-45A2-8BC1-DD4410D02BCD}" dt="2022-07-12T10:10:01.736" v="2686" actId="47"/>
        <pc:sldMkLst>
          <pc:docMk/>
          <pc:sldMk cId="912018181" sldId="541"/>
        </pc:sldMkLst>
      </pc:sldChg>
      <pc:sldChg chg="del">
        <pc:chgData name="Tongtong Wang" userId="5026a17a-445d-4aa4-bcd4-da2975ecf913" providerId="ADAL" clId="{2E6CCF4E-53D5-45A2-8BC1-DD4410D02BCD}" dt="2022-07-12T10:10:01.736" v="2686" actId="47"/>
        <pc:sldMkLst>
          <pc:docMk/>
          <pc:sldMk cId="4080406720" sldId="543"/>
        </pc:sldMkLst>
      </pc:sldChg>
      <pc:sldChg chg="del">
        <pc:chgData name="Tongtong Wang" userId="5026a17a-445d-4aa4-bcd4-da2975ecf913" providerId="ADAL" clId="{2E6CCF4E-53D5-45A2-8BC1-DD4410D02BCD}" dt="2022-07-12T10:10:01.736" v="2686" actId="47"/>
        <pc:sldMkLst>
          <pc:docMk/>
          <pc:sldMk cId="25832710" sldId="544"/>
        </pc:sldMkLst>
      </pc:sldChg>
      <pc:sldChg chg="del">
        <pc:chgData name="Tongtong Wang" userId="5026a17a-445d-4aa4-bcd4-da2975ecf913" providerId="ADAL" clId="{2E6CCF4E-53D5-45A2-8BC1-DD4410D02BCD}" dt="2022-07-12T10:10:01.736" v="2686" actId="47"/>
        <pc:sldMkLst>
          <pc:docMk/>
          <pc:sldMk cId="1823700865" sldId="546"/>
        </pc:sldMkLst>
      </pc:sldChg>
      <pc:sldChg chg="del">
        <pc:chgData name="Tongtong Wang" userId="5026a17a-445d-4aa4-bcd4-da2975ecf913" providerId="ADAL" clId="{2E6CCF4E-53D5-45A2-8BC1-DD4410D02BCD}" dt="2022-07-12T10:10:01.736" v="2686" actId="47"/>
        <pc:sldMkLst>
          <pc:docMk/>
          <pc:sldMk cId="908349976" sldId="547"/>
        </pc:sldMkLst>
      </pc:sldChg>
      <pc:sldChg chg="del">
        <pc:chgData name="Tongtong Wang" userId="5026a17a-445d-4aa4-bcd4-da2975ecf913" providerId="ADAL" clId="{2E6CCF4E-53D5-45A2-8BC1-DD4410D02BCD}" dt="2022-07-12T10:10:01.736" v="2686" actId="47"/>
        <pc:sldMkLst>
          <pc:docMk/>
          <pc:sldMk cId="4285001700" sldId="548"/>
        </pc:sldMkLst>
      </pc:sldChg>
      <pc:sldChg chg="del">
        <pc:chgData name="Tongtong Wang" userId="5026a17a-445d-4aa4-bcd4-da2975ecf913" providerId="ADAL" clId="{2E6CCF4E-53D5-45A2-8BC1-DD4410D02BCD}" dt="2022-07-12T10:10:01.736" v="2686" actId="47"/>
        <pc:sldMkLst>
          <pc:docMk/>
          <pc:sldMk cId="3627555917" sldId="549"/>
        </pc:sldMkLst>
      </pc:sldChg>
      <pc:sldChg chg="del">
        <pc:chgData name="Tongtong Wang" userId="5026a17a-445d-4aa4-bcd4-da2975ecf913" providerId="ADAL" clId="{2E6CCF4E-53D5-45A2-8BC1-DD4410D02BCD}" dt="2022-07-12T10:10:01.736" v="2686" actId="47"/>
        <pc:sldMkLst>
          <pc:docMk/>
          <pc:sldMk cId="2184517477" sldId="551"/>
        </pc:sldMkLst>
      </pc:sldChg>
      <pc:sldChg chg="del">
        <pc:chgData name="Tongtong Wang" userId="5026a17a-445d-4aa4-bcd4-da2975ecf913" providerId="ADAL" clId="{2E6CCF4E-53D5-45A2-8BC1-DD4410D02BCD}" dt="2022-07-12T10:10:01.736" v="2686" actId="47"/>
        <pc:sldMkLst>
          <pc:docMk/>
          <pc:sldMk cId="3537415246" sldId="552"/>
        </pc:sldMkLst>
      </pc:sldChg>
      <pc:sldChg chg="del">
        <pc:chgData name="Tongtong Wang" userId="5026a17a-445d-4aa4-bcd4-da2975ecf913" providerId="ADAL" clId="{2E6CCF4E-53D5-45A2-8BC1-DD4410D02BCD}" dt="2022-07-12T10:10:01.736" v="2686" actId="47"/>
        <pc:sldMkLst>
          <pc:docMk/>
          <pc:sldMk cId="1714680153" sldId="553"/>
        </pc:sldMkLst>
      </pc:sldChg>
      <pc:sldChg chg="del">
        <pc:chgData name="Tongtong Wang" userId="5026a17a-445d-4aa4-bcd4-da2975ecf913" providerId="ADAL" clId="{2E6CCF4E-53D5-45A2-8BC1-DD4410D02BCD}" dt="2022-07-12T10:10:01.736" v="2686" actId="47"/>
        <pc:sldMkLst>
          <pc:docMk/>
          <pc:sldMk cId="2486047606" sldId="554"/>
        </pc:sldMkLst>
      </pc:sldChg>
      <pc:sldChg chg="del">
        <pc:chgData name="Tongtong Wang" userId="5026a17a-445d-4aa4-bcd4-da2975ecf913" providerId="ADAL" clId="{2E6CCF4E-53D5-45A2-8BC1-DD4410D02BCD}" dt="2022-07-12T10:10:01.736" v="2686" actId="47"/>
        <pc:sldMkLst>
          <pc:docMk/>
          <pc:sldMk cId="650143799" sldId="555"/>
        </pc:sldMkLst>
      </pc:sldChg>
      <pc:sldChg chg="del">
        <pc:chgData name="Tongtong Wang" userId="5026a17a-445d-4aa4-bcd4-da2975ecf913" providerId="ADAL" clId="{2E6CCF4E-53D5-45A2-8BC1-DD4410D02BCD}" dt="2022-07-12T10:10:01.736" v="2686" actId="47"/>
        <pc:sldMkLst>
          <pc:docMk/>
          <pc:sldMk cId="1497357032" sldId="557"/>
        </pc:sldMkLst>
      </pc:sldChg>
      <pc:sldChg chg="del">
        <pc:chgData name="Tongtong Wang" userId="5026a17a-445d-4aa4-bcd4-da2975ecf913" providerId="ADAL" clId="{2E6CCF4E-53D5-45A2-8BC1-DD4410D02BCD}" dt="2022-07-12T10:10:01.736" v="2686" actId="47"/>
        <pc:sldMkLst>
          <pc:docMk/>
          <pc:sldMk cId="2522993446" sldId="559"/>
        </pc:sldMkLst>
      </pc:sldChg>
      <pc:sldChg chg="del">
        <pc:chgData name="Tongtong Wang" userId="5026a17a-445d-4aa4-bcd4-da2975ecf913" providerId="ADAL" clId="{2E6CCF4E-53D5-45A2-8BC1-DD4410D02BCD}" dt="2022-07-12T10:10:01.736" v="2686" actId="47"/>
        <pc:sldMkLst>
          <pc:docMk/>
          <pc:sldMk cId="2715989708" sldId="560"/>
        </pc:sldMkLst>
      </pc:sldChg>
      <pc:sldChg chg="addSp delSp modSp add del mod">
        <pc:chgData name="Tongtong Wang" userId="5026a17a-445d-4aa4-bcd4-da2975ecf913" providerId="ADAL" clId="{2E6CCF4E-53D5-45A2-8BC1-DD4410D02BCD}" dt="2022-07-04T12:36:20.174" v="905" actId="47"/>
        <pc:sldMkLst>
          <pc:docMk/>
          <pc:sldMk cId="1753039140" sldId="561"/>
        </pc:sldMkLst>
        <pc:spChg chg="mod">
          <ac:chgData name="Tongtong Wang" userId="5026a17a-445d-4aa4-bcd4-da2975ecf913" providerId="ADAL" clId="{2E6CCF4E-53D5-45A2-8BC1-DD4410D02BCD}" dt="2022-07-04T12:06:16.570" v="754" actId="20577"/>
          <ac:spMkLst>
            <pc:docMk/>
            <pc:sldMk cId="1753039140" sldId="561"/>
            <ac:spMk id="7" creationId="{63991A79-2DF5-4987-8986-F8B6237BF2C9}"/>
          </ac:spMkLst>
        </pc:spChg>
        <pc:spChg chg="add mod">
          <ac:chgData name="Tongtong Wang" userId="5026a17a-445d-4aa4-bcd4-da2975ecf913" providerId="ADAL" clId="{2E6CCF4E-53D5-45A2-8BC1-DD4410D02BCD}" dt="2022-07-04T11:58:28.213" v="720" actId="1076"/>
          <ac:spMkLst>
            <pc:docMk/>
            <pc:sldMk cId="1753039140" sldId="561"/>
            <ac:spMk id="28" creationId="{60DBC74B-3B1A-4573-A65F-3002CA28F279}"/>
          </ac:spMkLst>
        </pc:spChg>
        <pc:spChg chg="mod">
          <ac:chgData name="Tongtong Wang" userId="5026a17a-445d-4aa4-bcd4-da2975ecf913" providerId="ADAL" clId="{2E6CCF4E-53D5-45A2-8BC1-DD4410D02BCD}" dt="2022-07-04T11:58:17.022" v="719" actId="1076"/>
          <ac:spMkLst>
            <pc:docMk/>
            <pc:sldMk cId="1753039140" sldId="561"/>
            <ac:spMk id="29" creationId="{EBD9FE7C-CD72-4B7B-AD05-8DC094692138}"/>
          </ac:spMkLst>
        </pc:spChg>
        <pc:spChg chg="add mod">
          <ac:chgData name="Tongtong Wang" userId="5026a17a-445d-4aa4-bcd4-da2975ecf913" providerId="ADAL" clId="{2E6CCF4E-53D5-45A2-8BC1-DD4410D02BCD}" dt="2022-07-04T12:06:19.857" v="755" actId="1076"/>
          <ac:spMkLst>
            <pc:docMk/>
            <pc:sldMk cId="1753039140" sldId="561"/>
            <ac:spMk id="30" creationId="{EC474AD0-C782-4E77-873C-B4D3617F3EC1}"/>
          </ac:spMkLst>
        </pc:spChg>
        <pc:spChg chg="add mod">
          <ac:chgData name="Tongtong Wang" userId="5026a17a-445d-4aa4-bcd4-da2975ecf913" providerId="ADAL" clId="{2E6CCF4E-53D5-45A2-8BC1-DD4410D02BCD}" dt="2022-07-04T12:06:35.760" v="761" actId="1076"/>
          <ac:spMkLst>
            <pc:docMk/>
            <pc:sldMk cId="1753039140" sldId="561"/>
            <ac:spMk id="32" creationId="{47A8C5E9-4527-4A48-A97D-A98E18DB344C}"/>
          </ac:spMkLst>
        </pc:spChg>
        <pc:spChg chg="add mod">
          <ac:chgData name="Tongtong Wang" userId="5026a17a-445d-4aa4-bcd4-da2975ecf913" providerId="ADAL" clId="{2E6CCF4E-53D5-45A2-8BC1-DD4410D02BCD}" dt="2022-07-04T12:12:37.640" v="768" actId="1076"/>
          <ac:spMkLst>
            <pc:docMk/>
            <pc:sldMk cId="1753039140" sldId="561"/>
            <ac:spMk id="34" creationId="{B350050A-0DF8-4EBA-8CD8-FF151B2A42AB}"/>
          </ac:spMkLst>
        </pc:spChg>
        <pc:spChg chg="mod">
          <ac:chgData name="Tongtong Wang" userId="5026a17a-445d-4aa4-bcd4-da2975ecf913" providerId="ADAL" clId="{2E6CCF4E-53D5-45A2-8BC1-DD4410D02BCD}" dt="2022-07-04T12:26:41.979" v="801" actId="20577"/>
          <ac:spMkLst>
            <pc:docMk/>
            <pc:sldMk cId="1753039140" sldId="561"/>
            <ac:spMk id="45" creationId="{ABE05CC7-87A9-4E18-AEA7-3CFE48FBF726}"/>
          </ac:spMkLst>
        </pc:spChg>
        <pc:picChg chg="del">
          <ac:chgData name="Tongtong Wang" userId="5026a17a-445d-4aa4-bcd4-da2975ecf913" providerId="ADAL" clId="{2E6CCF4E-53D5-45A2-8BC1-DD4410D02BCD}" dt="2022-07-04T11:55:40.082" v="658" actId="478"/>
          <ac:picMkLst>
            <pc:docMk/>
            <pc:sldMk cId="1753039140" sldId="561"/>
            <ac:picMk id="3080" creationId="{755106FA-9FD6-4865-BD7A-7E049965668D}"/>
          </ac:picMkLst>
        </pc:picChg>
        <pc:picChg chg="add mod">
          <ac:chgData name="Tongtong Wang" userId="5026a17a-445d-4aa4-bcd4-da2975ecf913" providerId="ADAL" clId="{2E6CCF4E-53D5-45A2-8BC1-DD4410D02BCD}" dt="2022-07-04T11:58:13.182" v="718" actId="1076"/>
          <ac:picMkLst>
            <pc:docMk/>
            <pc:sldMk cId="1753039140" sldId="561"/>
            <ac:picMk id="22530" creationId="{779619B4-FB01-4996-9B7D-EFAF80049EFC}"/>
          </ac:picMkLst>
        </pc:picChg>
      </pc:sldChg>
      <pc:sldChg chg="addSp delSp modSp add mod modAnim">
        <pc:chgData name="Tongtong Wang" userId="5026a17a-445d-4aa4-bcd4-da2975ecf913" providerId="ADAL" clId="{2E6CCF4E-53D5-45A2-8BC1-DD4410D02BCD}" dt="2022-07-12T09:28:30.331" v="2610" actId="20577"/>
        <pc:sldMkLst>
          <pc:docMk/>
          <pc:sldMk cId="4048465790" sldId="562"/>
        </pc:sldMkLst>
        <pc:spChg chg="mod">
          <ac:chgData name="Tongtong Wang" userId="5026a17a-445d-4aa4-bcd4-da2975ecf913" providerId="ADAL" clId="{2E6CCF4E-53D5-45A2-8BC1-DD4410D02BCD}" dt="2022-07-04T12:26:06.363" v="787" actId="20577"/>
          <ac:spMkLst>
            <pc:docMk/>
            <pc:sldMk cId="4048465790" sldId="562"/>
            <ac:spMk id="7" creationId="{63991A79-2DF5-4987-8986-F8B6237BF2C9}"/>
          </ac:spMkLst>
        </pc:spChg>
        <pc:spChg chg="del">
          <ac:chgData name="Tongtong Wang" userId="5026a17a-445d-4aa4-bcd4-da2975ecf913" providerId="ADAL" clId="{2E6CCF4E-53D5-45A2-8BC1-DD4410D02BCD}" dt="2022-07-04T12:12:56.026" v="771" actId="478"/>
          <ac:spMkLst>
            <pc:docMk/>
            <pc:sldMk cId="4048465790" sldId="562"/>
            <ac:spMk id="29" creationId="{EBD9FE7C-CD72-4B7B-AD05-8DC094692138}"/>
          </ac:spMkLst>
        </pc:spChg>
        <pc:spChg chg="mod">
          <ac:chgData name="Tongtong Wang" userId="5026a17a-445d-4aa4-bcd4-da2975ecf913" providerId="ADAL" clId="{2E6CCF4E-53D5-45A2-8BC1-DD4410D02BCD}" dt="2022-07-12T09:28:30.331" v="2610" actId="20577"/>
          <ac:spMkLst>
            <pc:docMk/>
            <pc:sldMk cId="4048465790" sldId="562"/>
            <ac:spMk id="45" creationId="{ABE05CC7-87A9-4E18-AEA7-3CFE48FBF726}"/>
          </ac:spMkLst>
        </pc:spChg>
        <pc:grpChg chg="del">
          <ac:chgData name="Tongtong Wang" userId="5026a17a-445d-4aa4-bcd4-da2975ecf913" providerId="ADAL" clId="{2E6CCF4E-53D5-45A2-8BC1-DD4410D02BCD}" dt="2022-07-04T12:35:46.324" v="894" actId="478"/>
          <ac:grpSpMkLst>
            <pc:docMk/>
            <pc:sldMk cId="4048465790" sldId="562"/>
            <ac:grpSpMk id="76" creationId="{E94368C8-011E-44CE-A105-66EFFEE62DE1}"/>
          </ac:grpSpMkLst>
        </pc:grpChg>
        <pc:picChg chg="add mod">
          <ac:chgData name="Tongtong Wang" userId="5026a17a-445d-4aa4-bcd4-da2975ecf913" providerId="ADAL" clId="{2E6CCF4E-53D5-45A2-8BC1-DD4410D02BCD}" dt="2022-07-12T09:27:59.663" v="2574" actId="1076"/>
          <ac:picMkLst>
            <pc:docMk/>
            <pc:sldMk cId="4048465790" sldId="562"/>
            <ac:picMk id="26" creationId="{DBFBD6F5-3273-447C-BE4B-4F8DFC0CE78D}"/>
          </ac:picMkLst>
        </pc:picChg>
        <pc:picChg chg="del">
          <ac:chgData name="Tongtong Wang" userId="5026a17a-445d-4aa4-bcd4-da2975ecf913" providerId="ADAL" clId="{2E6CCF4E-53D5-45A2-8BC1-DD4410D02BCD}" dt="2022-07-04T12:12:54.037" v="770" actId="478"/>
          <ac:picMkLst>
            <pc:docMk/>
            <pc:sldMk cId="4048465790" sldId="562"/>
            <ac:picMk id="3080" creationId="{755106FA-9FD6-4865-BD7A-7E049965668D}"/>
          </ac:picMkLst>
        </pc:picChg>
        <pc:cxnChg chg="del">
          <ac:chgData name="Tongtong Wang" userId="5026a17a-445d-4aa4-bcd4-da2975ecf913" providerId="ADAL" clId="{2E6CCF4E-53D5-45A2-8BC1-DD4410D02BCD}" dt="2022-07-04T12:35:46.324" v="894" actId="478"/>
          <ac:cxnSpMkLst>
            <pc:docMk/>
            <pc:sldMk cId="4048465790" sldId="562"/>
            <ac:cxnSpMk id="64" creationId="{385CF43D-468C-4F4A-879D-2DB72BCDB722}"/>
          </ac:cxnSpMkLst>
        </pc:cxnChg>
      </pc:sldChg>
      <pc:sldChg chg="addSp delSp modSp add mod modAnim">
        <pc:chgData name="Tongtong Wang" userId="5026a17a-445d-4aa4-bcd4-da2975ecf913" providerId="ADAL" clId="{2E6CCF4E-53D5-45A2-8BC1-DD4410D02BCD}" dt="2022-07-12T10:35:32.802" v="3165" actId="403"/>
        <pc:sldMkLst>
          <pc:docMk/>
          <pc:sldMk cId="2268826138" sldId="563"/>
        </pc:sldMkLst>
        <pc:spChg chg="mod">
          <ac:chgData name="Tongtong Wang" userId="5026a17a-445d-4aa4-bcd4-da2975ecf913" providerId="ADAL" clId="{2E6CCF4E-53D5-45A2-8BC1-DD4410D02BCD}" dt="2022-07-12T09:27:42.831" v="2573" actId="20577"/>
          <ac:spMkLst>
            <pc:docMk/>
            <pc:sldMk cId="2268826138" sldId="563"/>
            <ac:spMk id="7" creationId="{63991A79-2DF5-4987-8986-F8B6237BF2C9}"/>
          </ac:spMkLst>
        </pc:spChg>
        <pc:spChg chg="del">
          <ac:chgData name="Tongtong Wang" userId="5026a17a-445d-4aa4-bcd4-da2975ecf913" providerId="ADAL" clId="{2E6CCF4E-53D5-45A2-8BC1-DD4410D02BCD}" dt="2022-07-04T12:27:39.803" v="828" actId="478"/>
          <ac:spMkLst>
            <pc:docMk/>
            <pc:sldMk cId="2268826138" sldId="563"/>
            <ac:spMk id="28" creationId="{60DBC74B-3B1A-4573-A65F-3002CA28F279}"/>
          </ac:spMkLst>
        </pc:spChg>
        <pc:spChg chg="del">
          <ac:chgData name="Tongtong Wang" userId="5026a17a-445d-4aa4-bcd4-da2975ecf913" providerId="ADAL" clId="{2E6CCF4E-53D5-45A2-8BC1-DD4410D02BCD}" dt="2022-07-04T12:27:38.336" v="827" actId="478"/>
          <ac:spMkLst>
            <pc:docMk/>
            <pc:sldMk cId="2268826138" sldId="563"/>
            <ac:spMk id="29" creationId="{EBD9FE7C-CD72-4B7B-AD05-8DC094692138}"/>
          </ac:spMkLst>
        </pc:spChg>
        <pc:spChg chg="del">
          <ac:chgData name="Tongtong Wang" userId="5026a17a-445d-4aa4-bcd4-da2975ecf913" providerId="ADAL" clId="{2E6CCF4E-53D5-45A2-8BC1-DD4410D02BCD}" dt="2022-07-04T12:27:36.171" v="826" actId="478"/>
          <ac:spMkLst>
            <pc:docMk/>
            <pc:sldMk cId="2268826138" sldId="563"/>
            <ac:spMk id="30" creationId="{EC474AD0-C782-4E77-873C-B4D3617F3EC1}"/>
          </ac:spMkLst>
        </pc:spChg>
        <pc:spChg chg="del">
          <ac:chgData name="Tongtong Wang" userId="5026a17a-445d-4aa4-bcd4-da2975ecf913" providerId="ADAL" clId="{2E6CCF4E-53D5-45A2-8BC1-DD4410D02BCD}" dt="2022-07-04T12:27:36.171" v="826" actId="478"/>
          <ac:spMkLst>
            <pc:docMk/>
            <pc:sldMk cId="2268826138" sldId="563"/>
            <ac:spMk id="32" creationId="{47A8C5E9-4527-4A48-A97D-A98E18DB344C}"/>
          </ac:spMkLst>
        </pc:spChg>
        <pc:spChg chg="del mod">
          <ac:chgData name="Tongtong Wang" userId="5026a17a-445d-4aa4-bcd4-da2975ecf913" providerId="ADAL" clId="{2E6CCF4E-53D5-45A2-8BC1-DD4410D02BCD}" dt="2022-07-04T12:27:08.683" v="821"/>
          <ac:spMkLst>
            <pc:docMk/>
            <pc:sldMk cId="2268826138" sldId="563"/>
            <ac:spMk id="34" creationId="{B350050A-0DF8-4EBA-8CD8-FF151B2A42AB}"/>
          </ac:spMkLst>
        </pc:spChg>
        <pc:spChg chg="mod">
          <ac:chgData name="Tongtong Wang" userId="5026a17a-445d-4aa4-bcd4-da2975ecf913" providerId="ADAL" clId="{2E6CCF4E-53D5-45A2-8BC1-DD4410D02BCD}" dt="2022-07-12T10:35:32.802" v="3165" actId="403"/>
          <ac:spMkLst>
            <pc:docMk/>
            <pc:sldMk cId="2268826138" sldId="563"/>
            <ac:spMk id="45" creationId="{ABE05CC7-87A9-4E18-AEA7-3CFE48FBF726}"/>
          </ac:spMkLst>
        </pc:spChg>
        <pc:grpChg chg="del">
          <ac:chgData name="Tongtong Wang" userId="5026a17a-445d-4aa4-bcd4-da2975ecf913" providerId="ADAL" clId="{2E6CCF4E-53D5-45A2-8BC1-DD4410D02BCD}" dt="2022-07-04T12:35:50.198" v="895" actId="478"/>
          <ac:grpSpMkLst>
            <pc:docMk/>
            <pc:sldMk cId="2268826138" sldId="563"/>
            <ac:grpSpMk id="76" creationId="{E94368C8-011E-44CE-A105-66EFFEE62DE1}"/>
          </ac:grpSpMkLst>
        </pc:grpChg>
        <pc:picChg chg="add mod">
          <ac:chgData name="Tongtong Wang" userId="5026a17a-445d-4aa4-bcd4-da2975ecf913" providerId="ADAL" clId="{2E6CCF4E-53D5-45A2-8BC1-DD4410D02BCD}" dt="2022-07-12T09:29:16.083" v="2625" actId="1076"/>
          <ac:picMkLst>
            <pc:docMk/>
            <pc:sldMk cId="2268826138" sldId="563"/>
            <ac:picMk id="2" creationId="{826ACC34-F4EA-444D-9254-A69A0DD92DB7}"/>
          </ac:picMkLst>
        </pc:picChg>
        <pc:picChg chg="del">
          <ac:chgData name="Tongtong Wang" userId="5026a17a-445d-4aa4-bcd4-da2975ecf913" providerId="ADAL" clId="{2E6CCF4E-53D5-45A2-8BC1-DD4410D02BCD}" dt="2022-07-04T12:27:25.771" v="824" actId="478"/>
          <ac:picMkLst>
            <pc:docMk/>
            <pc:sldMk cId="2268826138" sldId="563"/>
            <ac:picMk id="22530" creationId="{779619B4-FB01-4996-9B7D-EFAF80049EFC}"/>
          </ac:picMkLst>
        </pc:picChg>
        <pc:cxnChg chg="del">
          <ac:chgData name="Tongtong Wang" userId="5026a17a-445d-4aa4-bcd4-da2975ecf913" providerId="ADAL" clId="{2E6CCF4E-53D5-45A2-8BC1-DD4410D02BCD}" dt="2022-07-04T12:35:50.198" v="895" actId="478"/>
          <ac:cxnSpMkLst>
            <pc:docMk/>
            <pc:sldMk cId="2268826138" sldId="563"/>
            <ac:cxnSpMk id="64" creationId="{385CF43D-468C-4F4A-879D-2DB72BCDB722}"/>
          </ac:cxnSpMkLst>
        </pc:cxnChg>
      </pc:sldChg>
      <pc:sldChg chg="modSp add del mod">
        <pc:chgData name="Tongtong Wang" userId="5026a17a-445d-4aa4-bcd4-da2975ecf913" providerId="ADAL" clId="{2E6CCF4E-53D5-45A2-8BC1-DD4410D02BCD}" dt="2022-07-04T12:26:43.224" v="803"/>
        <pc:sldMkLst>
          <pc:docMk/>
          <pc:sldMk cId="3318559524" sldId="563"/>
        </pc:sldMkLst>
        <pc:spChg chg="mod">
          <ac:chgData name="Tongtong Wang" userId="5026a17a-445d-4aa4-bcd4-da2975ecf913" providerId="ADAL" clId="{2E6CCF4E-53D5-45A2-8BC1-DD4410D02BCD}" dt="2022-07-04T12:26:42.501" v="802" actId="20577"/>
          <ac:spMkLst>
            <pc:docMk/>
            <pc:sldMk cId="3318559524" sldId="563"/>
            <ac:spMk id="45" creationId="{ABE05CC7-87A9-4E18-AEA7-3CFE48FBF726}"/>
          </ac:spMkLst>
        </pc:spChg>
      </pc:sldChg>
      <pc:sldChg chg="add del">
        <pc:chgData name="Tongtong Wang" userId="5026a17a-445d-4aa4-bcd4-da2975ecf913" providerId="ADAL" clId="{2E6CCF4E-53D5-45A2-8BC1-DD4410D02BCD}" dt="2022-07-04T12:36:19.131" v="904" actId="47"/>
        <pc:sldMkLst>
          <pc:docMk/>
          <pc:sldMk cId="2650649989" sldId="564"/>
        </pc:sldMkLst>
      </pc:sldChg>
      <pc:sldChg chg="addSp delSp modSp add mod addAnim delAnim modAnim">
        <pc:chgData name="Tongtong Wang" userId="5026a17a-445d-4aa4-bcd4-da2975ecf913" providerId="ADAL" clId="{2E6CCF4E-53D5-45A2-8BC1-DD4410D02BCD}" dt="2022-07-12T10:35:42.069" v="3168" actId="255"/>
        <pc:sldMkLst>
          <pc:docMk/>
          <pc:sldMk cId="738170867" sldId="565"/>
        </pc:sldMkLst>
        <pc:spChg chg="mod">
          <ac:chgData name="Tongtong Wang" userId="5026a17a-445d-4aa4-bcd4-da2975ecf913" providerId="ADAL" clId="{2E6CCF4E-53D5-45A2-8BC1-DD4410D02BCD}" dt="2022-07-04T13:27:53.579" v="1112"/>
          <ac:spMkLst>
            <pc:docMk/>
            <pc:sldMk cId="738170867" sldId="565"/>
            <ac:spMk id="7" creationId="{63991A79-2DF5-4987-8986-F8B6237BF2C9}"/>
          </ac:spMkLst>
        </pc:spChg>
        <pc:spChg chg="del mod">
          <ac:chgData name="Tongtong Wang" userId="5026a17a-445d-4aa4-bcd4-da2975ecf913" providerId="ADAL" clId="{2E6CCF4E-53D5-45A2-8BC1-DD4410D02BCD}" dt="2022-07-04T12:28:43.248" v="849"/>
          <ac:spMkLst>
            <pc:docMk/>
            <pc:sldMk cId="738170867" sldId="565"/>
            <ac:spMk id="28" creationId="{60DBC74B-3B1A-4573-A65F-3002CA28F279}"/>
          </ac:spMkLst>
        </pc:spChg>
        <pc:spChg chg="del mod">
          <ac:chgData name="Tongtong Wang" userId="5026a17a-445d-4aa4-bcd4-da2975ecf913" providerId="ADAL" clId="{2E6CCF4E-53D5-45A2-8BC1-DD4410D02BCD}" dt="2022-07-04T12:28:03.215" v="838"/>
          <ac:spMkLst>
            <pc:docMk/>
            <pc:sldMk cId="738170867" sldId="565"/>
            <ac:spMk id="29" creationId="{EBD9FE7C-CD72-4B7B-AD05-8DC094692138}"/>
          </ac:spMkLst>
        </pc:spChg>
        <pc:spChg chg="del mod">
          <ac:chgData name="Tongtong Wang" userId="5026a17a-445d-4aa4-bcd4-da2975ecf913" providerId="ADAL" clId="{2E6CCF4E-53D5-45A2-8BC1-DD4410D02BCD}" dt="2022-07-04T12:29:07.613" v="854" actId="478"/>
          <ac:spMkLst>
            <pc:docMk/>
            <pc:sldMk cId="738170867" sldId="565"/>
            <ac:spMk id="30" creationId="{EC474AD0-C782-4E77-873C-B4D3617F3EC1}"/>
          </ac:spMkLst>
        </pc:spChg>
        <pc:spChg chg="add del mod">
          <ac:chgData name="Tongtong Wang" userId="5026a17a-445d-4aa4-bcd4-da2975ecf913" providerId="ADAL" clId="{2E6CCF4E-53D5-45A2-8BC1-DD4410D02BCD}" dt="2022-07-12T10:06:05.382" v="2640" actId="478"/>
          <ac:spMkLst>
            <pc:docMk/>
            <pc:sldMk cId="738170867" sldId="565"/>
            <ac:spMk id="31" creationId="{CA590727-32C2-4B62-BCDA-123F8FA55798}"/>
          </ac:spMkLst>
        </pc:spChg>
        <pc:spChg chg="del mod">
          <ac:chgData name="Tongtong Wang" userId="5026a17a-445d-4aa4-bcd4-da2975ecf913" providerId="ADAL" clId="{2E6CCF4E-53D5-45A2-8BC1-DD4410D02BCD}" dt="2022-07-04T12:29:09.338" v="855" actId="478"/>
          <ac:spMkLst>
            <pc:docMk/>
            <pc:sldMk cId="738170867" sldId="565"/>
            <ac:spMk id="32" creationId="{47A8C5E9-4527-4A48-A97D-A98E18DB344C}"/>
          </ac:spMkLst>
        </pc:spChg>
        <pc:spChg chg="del">
          <ac:chgData name="Tongtong Wang" userId="5026a17a-445d-4aa4-bcd4-da2975ecf913" providerId="ADAL" clId="{2E6CCF4E-53D5-45A2-8BC1-DD4410D02BCD}" dt="2022-07-04T12:27:48.709" v="831" actId="478"/>
          <ac:spMkLst>
            <pc:docMk/>
            <pc:sldMk cId="738170867" sldId="565"/>
            <ac:spMk id="34" creationId="{B350050A-0DF8-4EBA-8CD8-FF151B2A42AB}"/>
          </ac:spMkLst>
        </pc:spChg>
        <pc:spChg chg="mod">
          <ac:chgData name="Tongtong Wang" userId="5026a17a-445d-4aa4-bcd4-da2975ecf913" providerId="ADAL" clId="{2E6CCF4E-53D5-45A2-8BC1-DD4410D02BCD}" dt="2022-07-12T10:35:42.069" v="3168" actId="255"/>
          <ac:spMkLst>
            <pc:docMk/>
            <pc:sldMk cId="738170867" sldId="565"/>
            <ac:spMk id="45" creationId="{ABE05CC7-87A9-4E18-AEA7-3CFE48FBF726}"/>
          </ac:spMkLst>
        </pc:spChg>
        <pc:grpChg chg="del">
          <ac:chgData name="Tongtong Wang" userId="5026a17a-445d-4aa4-bcd4-da2975ecf913" providerId="ADAL" clId="{2E6CCF4E-53D5-45A2-8BC1-DD4410D02BCD}" dt="2022-07-04T12:35:54.617" v="897" actId="478"/>
          <ac:grpSpMkLst>
            <pc:docMk/>
            <pc:sldMk cId="738170867" sldId="565"/>
            <ac:grpSpMk id="76" creationId="{E94368C8-011E-44CE-A105-66EFFEE62DE1}"/>
          </ac:grpSpMkLst>
        </pc:grpChg>
        <pc:picChg chg="add del mod">
          <ac:chgData name="Tongtong Wang" userId="5026a17a-445d-4aa4-bcd4-da2975ecf913" providerId="ADAL" clId="{2E6CCF4E-53D5-45A2-8BC1-DD4410D02BCD}" dt="2022-07-12T10:06:34.127" v="2646" actId="478"/>
          <ac:picMkLst>
            <pc:docMk/>
            <pc:sldMk cId="738170867" sldId="565"/>
            <ac:picMk id="3" creationId="{5EC236E6-7ED4-4A9E-8824-37724A27718F}"/>
          </ac:picMkLst>
        </pc:picChg>
        <pc:picChg chg="add del mod">
          <ac:chgData name="Tongtong Wang" userId="5026a17a-445d-4aa4-bcd4-da2975ecf913" providerId="ADAL" clId="{2E6CCF4E-53D5-45A2-8BC1-DD4410D02BCD}" dt="2022-07-12T10:06:47.117" v="2652" actId="1076"/>
          <ac:picMkLst>
            <pc:docMk/>
            <pc:sldMk cId="738170867" sldId="565"/>
            <ac:picMk id="4" creationId="{6327F766-DEF8-4C94-B8FB-CED314481F46}"/>
          </ac:picMkLst>
        </pc:picChg>
        <pc:picChg chg="add del mod">
          <ac:chgData name="Tongtong Wang" userId="5026a17a-445d-4aa4-bcd4-da2975ecf913" providerId="ADAL" clId="{2E6CCF4E-53D5-45A2-8BC1-DD4410D02BCD}" dt="2022-07-12T10:06:45.127" v="2651" actId="1076"/>
          <ac:picMkLst>
            <pc:docMk/>
            <pc:sldMk cId="738170867" sldId="565"/>
            <ac:picMk id="22530" creationId="{779619B4-FB01-4996-9B7D-EFAF80049EFC}"/>
          </ac:picMkLst>
        </pc:picChg>
        <pc:cxnChg chg="del">
          <ac:chgData name="Tongtong Wang" userId="5026a17a-445d-4aa4-bcd4-da2975ecf913" providerId="ADAL" clId="{2E6CCF4E-53D5-45A2-8BC1-DD4410D02BCD}" dt="2022-07-04T12:35:53.500" v="896" actId="478"/>
          <ac:cxnSpMkLst>
            <pc:docMk/>
            <pc:sldMk cId="738170867" sldId="565"/>
            <ac:cxnSpMk id="64" creationId="{385CF43D-468C-4F4A-879D-2DB72BCDB722}"/>
          </ac:cxnSpMkLst>
        </pc:cxnChg>
      </pc:sldChg>
      <pc:sldChg chg="addSp delSp modSp add mod ord modAnim modNotesTx">
        <pc:chgData name="Tongtong Wang" userId="5026a17a-445d-4aa4-bcd4-da2975ecf913" providerId="ADAL" clId="{2E6CCF4E-53D5-45A2-8BC1-DD4410D02BCD}" dt="2022-07-12T10:35:36.701" v="3166" actId="255"/>
        <pc:sldMkLst>
          <pc:docMk/>
          <pc:sldMk cId="1655805330" sldId="566"/>
        </pc:sldMkLst>
        <pc:spChg chg="mod">
          <ac:chgData name="Tongtong Wang" userId="5026a17a-445d-4aa4-bcd4-da2975ecf913" providerId="ADAL" clId="{2E6CCF4E-53D5-45A2-8BC1-DD4410D02BCD}" dt="2022-07-12T09:29:10.129" v="2623" actId="20577"/>
          <ac:spMkLst>
            <pc:docMk/>
            <pc:sldMk cId="1655805330" sldId="566"/>
            <ac:spMk id="7" creationId="{63991A79-2DF5-4987-8986-F8B6237BF2C9}"/>
          </ac:spMkLst>
        </pc:spChg>
        <pc:spChg chg="del">
          <ac:chgData name="Tongtong Wang" userId="5026a17a-445d-4aa4-bcd4-da2975ecf913" providerId="ADAL" clId="{2E6CCF4E-53D5-45A2-8BC1-DD4410D02BCD}" dt="2022-07-04T12:29:36.353" v="863" actId="478"/>
          <ac:spMkLst>
            <pc:docMk/>
            <pc:sldMk cId="1655805330" sldId="566"/>
            <ac:spMk id="28" creationId="{60DBC74B-3B1A-4573-A65F-3002CA28F279}"/>
          </ac:spMkLst>
        </pc:spChg>
        <pc:spChg chg="del">
          <ac:chgData name="Tongtong Wang" userId="5026a17a-445d-4aa4-bcd4-da2975ecf913" providerId="ADAL" clId="{2E6CCF4E-53D5-45A2-8BC1-DD4410D02BCD}" dt="2022-07-04T12:29:35.644" v="862" actId="478"/>
          <ac:spMkLst>
            <pc:docMk/>
            <pc:sldMk cId="1655805330" sldId="566"/>
            <ac:spMk id="29" creationId="{EBD9FE7C-CD72-4B7B-AD05-8DC094692138}"/>
          </ac:spMkLst>
        </pc:spChg>
        <pc:spChg chg="del mod">
          <ac:chgData name="Tongtong Wang" userId="5026a17a-445d-4aa4-bcd4-da2975ecf913" providerId="ADAL" clId="{2E6CCF4E-53D5-45A2-8BC1-DD4410D02BCD}" dt="2022-07-04T12:29:39.527" v="866"/>
          <ac:spMkLst>
            <pc:docMk/>
            <pc:sldMk cId="1655805330" sldId="566"/>
            <ac:spMk id="30" creationId="{EC474AD0-C782-4E77-873C-B4D3617F3EC1}"/>
          </ac:spMkLst>
        </pc:spChg>
        <pc:spChg chg="del">
          <ac:chgData name="Tongtong Wang" userId="5026a17a-445d-4aa4-bcd4-da2975ecf913" providerId="ADAL" clId="{2E6CCF4E-53D5-45A2-8BC1-DD4410D02BCD}" dt="2022-07-04T12:30:10.035" v="873" actId="478"/>
          <ac:spMkLst>
            <pc:docMk/>
            <pc:sldMk cId="1655805330" sldId="566"/>
            <ac:spMk id="32" creationId="{47A8C5E9-4527-4A48-A97D-A98E18DB344C}"/>
          </ac:spMkLst>
        </pc:spChg>
        <pc:spChg chg="mod">
          <ac:chgData name="Tongtong Wang" userId="5026a17a-445d-4aa4-bcd4-da2975ecf913" providerId="ADAL" clId="{2E6CCF4E-53D5-45A2-8BC1-DD4410D02BCD}" dt="2022-07-12T10:35:36.701" v="3166" actId="255"/>
          <ac:spMkLst>
            <pc:docMk/>
            <pc:sldMk cId="1655805330" sldId="566"/>
            <ac:spMk id="45" creationId="{ABE05CC7-87A9-4E18-AEA7-3CFE48FBF726}"/>
          </ac:spMkLst>
        </pc:spChg>
        <pc:grpChg chg="del">
          <ac:chgData name="Tongtong Wang" userId="5026a17a-445d-4aa4-bcd4-da2975ecf913" providerId="ADAL" clId="{2E6CCF4E-53D5-45A2-8BC1-DD4410D02BCD}" dt="2022-07-04T12:35:59.907" v="899" actId="478"/>
          <ac:grpSpMkLst>
            <pc:docMk/>
            <pc:sldMk cId="1655805330" sldId="566"/>
            <ac:grpSpMk id="76" creationId="{E94368C8-011E-44CE-A105-66EFFEE62DE1}"/>
          </ac:grpSpMkLst>
        </pc:grpChg>
        <pc:picChg chg="add mod">
          <ac:chgData name="Tongtong Wang" userId="5026a17a-445d-4aa4-bcd4-da2975ecf913" providerId="ADAL" clId="{2E6CCF4E-53D5-45A2-8BC1-DD4410D02BCD}" dt="2022-07-12T09:29:13.539" v="2624" actId="1076"/>
          <ac:picMkLst>
            <pc:docMk/>
            <pc:sldMk cId="1655805330" sldId="566"/>
            <ac:picMk id="2" creationId="{EC0EF263-910F-44B6-A4D5-5BA5B455C5C1}"/>
          </ac:picMkLst>
        </pc:picChg>
        <pc:picChg chg="del">
          <ac:chgData name="Tongtong Wang" userId="5026a17a-445d-4aa4-bcd4-da2975ecf913" providerId="ADAL" clId="{2E6CCF4E-53D5-45A2-8BC1-DD4410D02BCD}" dt="2022-07-04T12:29:29.178" v="860" actId="478"/>
          <ac:picMkLst>
            <pc:docMk/>
            <pc:sldMk cId="1655805330" sldId="566"/>
            <ac:picMk id="22530" creationId="{779619B4-FB01-4996-9B7D-EFAF80049EFC}"/>
          </ac:picMkLst>
        </pc:picChg>
        <pc:cxnChg chg="del">
          <ac:chgData name="Tongtong Wang" userId="5026a17a-445d-4aa4-bcd4-da2975ecf913" providerId="ADAL" clId="{2E6CCF4E-53D5-45A2-8BC1-DD4410D02BCD}" dt="2022-07-04T12:35:56.739" v="898" actId="478"/>
          <ac:cxnSpMkLst>
            <pc:docMk/>
            <pc:sldMk cId="1655805330" sldId="566"/>
            <ac:cxnSpMk id="64" creationId="{385CF43D-468C-4F4A-879D-2DB72BCDB722}"/>
          </ac:cxnSpMkLst>
        </pc:cxnChg>
      </pc:sldChg>
      <pc:sldChg chg="delSp add del mod">
        <pc:chgData name="Tongtong Wang" userId="5026a17a-445d-4aa4-bcd4-da2975ecf913" providerId="ADAL" clId="{2E6CCF4E-53D5-45A2-8BC1-DD4410D02BCD}" dt="2022-07-04T12:36:21.856" v="906" actId="47"/>
        <pc:sldMkLst>
          <pc:docMk/>
          <pc:sldMk cId="352265113" sldId="567"/>
        </pc:sldMkLst>
        <pc:grpChg chg="del">
          <ac:chgData name="Tongtong Wang" userId="5026a17a-445d-4aa4-bcd4-da2975ecf913" providerId="ADAL" clId="{2E6CCF4E-53D5-45A2-8BC1-DD4410D02BCD}" dt="2022-07-04T12:36:05.601" v="903" actId="478"/>
          <ac:grpSpMkLst>
            <pc:docMk/>
            <pc:sldMk cId="352265113" sldId="567"/>
            <ac:grpSpMk id="76" creationId="{E94368C8-011E-44CE-A105-66EFFEE62DE1}"/>
          </ac:grpSpMkLst>
        </pc:grpChg>
        <pc:cxnChg chg="del">
          <ac:chgData name="Tongtong Wang" userId="5026a17a-445d-4aa4-bcd4-da2975ecf913" providerId="ADAL" clId="{2E6CCF4E-53D5-45A2-8BC1-DD4410D02BCD}" dt="2022-07-04T12:36:04.856" v="902" actId="478"/>
          <ac:cxnSpMkLst>
            <pc:docMk/>
            <pc:sldMk cId="352265113" sldId="567"/>
            <ac:cxnSpMk id="64" creationId="{385CF43D-468C-4F4A-879D-2DB72BCDB722}"/>
          </ac:cxnSpMkLst>
        </pc:cxnChg>
      </pc:sldChg>
      <pc:sldChg chg="addSp delSp modSp add mod ord delAnim modAnim">
        <pc:chgData name="Tongtong Wang" userId="5026a17a-445d-4aa4-bcd4-da2975ecf913" providerId="ADAL" clId="{2E6CCF4E-53D5-45A2-8BC1-DD4410D02BCD}" dt="2022-07-12T10:35:39.688" v="3167" actId="255"/>
        <pc:sldMkLst>
          <pc:docMk/>
          <pc:sldMk cId="3562600047" sldId="568"/>
        </pc:sldMkLst>
        <pc:spChg chg="mod">
          <ac:chgData name="Tongtong Wang" userId="5026a17a-445d-4aa4-bcd4-da2975ecf913" providerId="ADAL" clId="{2E6CCF4E-53D5-45A2-8BC1-DD4410D02BCD}" dt="2022-07-12T09:28:58.298" v="2615" actId="20577"/>
          <ac:spMkLst>
            <pc:docMk/>
            <pc:sldMk cId="3562600047" sldId="568"/>
            <ac:spMk id="7" creationId="{63991A79-2DF5-4987-8986-F8B6237BF2C9}"/>
          </ac:spMkLst>
        </pc:spChg>
        <pc:spChg chg="del mod">
          <ac:chgData name="Tongtong Wang" userId="5026a17a-445d-4aa4-bcd4-da2975ecf913" providerId="ADAL" clId="{2E6CCF4E-53D5-45A2-8BC1-DD4410D02BCD}" dt="2022-07-04T12:30:27.743" v="879"/>
          <ac:spMkLst>
            <pc:docMk/>
            <pc:sldMk cId="3562600047" sldId="568"/>
            <ac:spMk id="32" creationId="{47A8C5E9-4527-4A48-A97D-A98E18DB344C}"/>
          </ac:spMkLst>
        </pc:spChg>
        <pc:spChg chg="mod">
          <ac:chgData name="Tongtong Wang" userId="5026a17a-445d-4aa4-bcd4-da2975ecf913" providerId="ADAL" clId="{2E6CCF4E-53D5-45A2-8BC1-DD4410D02BCD}" dt="2022-07-12T10:35:39.688" v="3167" actId="255"/>
          <ac:spMkLst>
            <pc:docMk/>
            <pc:sldMk cId="3562600047" sldId="568"/>
            <ac:spMk id="45" creationId="{ABE05CC7-87A9-4E18-AEA7-3CFE48FBF726}"/>
          </ac:spMkLst>
        </pc:spChg>
        <pc:grpChg chg="del">
          <ac:chgData name="Tongtong Wang" userId="5026a17a-445d-4aa4-bcd4-da2975ecf913" providerId="ADAL" clId="{2E6CCF4E-53D5-45A2-8BC1-DD4410D02BCD}" dt="2022-07-04T12:36:02.764" v="901" actId="478"/>
          <ac:grpSpMkLst>
            <pc:docMk/>
            <pc:sldMk cId="3562600047" sldId="568"/>
            <ac:grpSpMk id="76" creationId="{E94368C8-011E-44CE-A105-66EFFEE62DE1}"/>
          </ac:grpSpMkLst>
        </pc:grpChg>
        <pc:picChg chg="del">
          <ac:chgData name="Tongtong Wang" userId="5026a17a-445d-4aa4-bcd4-da2975ecf913" providerId="ADAL" clId="{2E6CCF4E-53D5-45A2-8BC1-DD4410D02BCD}" dt="2022-07-04T12:30:24.335" v="876" actId="478"/>
          <ac:picMkLst>
            <pc:docMk/>
            <pc:sldMk cId="3562600047" sldId="568"/>
            <ac:picMk id="2" creationId="{EC0EF263-910F-44B6-A4D5-5BA5B455C5C1}"/>
          </ac:picMkLst>
        </pc:picChg>
        <pc:picChg chg="add mod">
          <ac:chgData name="Tongtong Wang" userId="5026a17a-445d-4aa4-bcd4-da2975ecf913" providerId="ADAL" clId="{2E6CCF4E-53D5-45A2-8BC1-DD4410D02BCD}" dt="2022-07-12T09:29:24.772" v="2627" actId="14100"/>
          <ac:picMkLst>
            <pc:docMk/>
            <pc:sldMk cId="3562600047" sldId="568"/>
            <ac:picMk id="3" creationId="{CF0AAD8B-A5BD-4BA7-85DF-84D4BB10EAAD}"/>
          </ac:picMkLst>
        </pc:picChg>
        <pc:cxnChg chg="del">
          <ac:chgData name="Tongtong Wang" userId="5026a17a-445d-4aa4-bcd4-da2975ecf913" providerId="ADAL" clId="{2E6CCF4E-53D5-45A2-8BC1-DD4410D02BCD}" dt="2022-07-04T12:36:02.036" v="900" actId="478"/>
          <ac:cxnSpMkLst>
            <pc:docMk/>
            <pc:sldMk cId="3562600047" sldId="568"/>
            <ac:cxnSpMk id="64" creationId="{385CF43D-468C-4F4A-879D-2DB72BCDB722}"/>
          </ac:cxnSpMkLst>
        </pc:cxnChg>
      </pc:sldChg>
      <pc:sldChg chg="addSp delSp modSp add mod modNotesTx">
        <pc:chgData name="Tongtong Wang" userId="5026a17a-445d-4aa4-bcd4-da2975ecf913" providerId="ADAL" clId="{2E6CCF4E-53D5-45A2-8BC1-DD4410D02BCD}" dt="2022-07-11T13:09:25.599" v="2383" actId="14100"/>
        <pc:sldMkLst>
          <pc:docMk/>
          <pc:sldMk cId="784037174" sldId="569"/>
        </pc:sldMkLst>
        <pc:spChg chg="add mod">
          <ac:chgData name="Tongtong Wang" userId="5026a17a-445d-4aa4-bcd4-da2975ecf913" providerId="ADAL" clId="{2E6CCF4E-53D5-45A2-8BC1-DD4410D02BCD}" dt="2022-07-11T13:09:25.599" v="2383" actId="14100"/>
          <ac:spMkLst>
            <pc:docMk/>
            <pc:sldMk cId="784037174" sldId="569"/>
            <ac:spMk id="2" creationId="{BE1BB79F-0112-4903-93E8-31490FE8B079}"/>
          </ac:spMkLst>
        </pc:spChg>
        <pc:spChg chg="mod">
          <ac:chgData name="Tongtong Wang" userId="5026a17a-445d-4aa4-bcd4-da2975ecf913" providerId="ADAL" clId="{2E6CCF4E-53D5-45A2-8BC1-DD4410D02BCD}" dt="2022-07-11T13:07:26.232" v="2275" actId="20577"/>
          <ac:spMkLst>
            <pc:docMk/>
            <pc:sldMk cId="784037174" sldId="569"/>
            <ac:spMk id="7" creationId="{63991A79-2DF5-4987-8986-F8B6237BF2C9}"/>
          </ac:spMkLst>
        </pc:spChg>
        <pc:spChg chg="del mod">
          <ac:chgData name="Tongtong Wang" userId="5026a17a-445d-4aa4-bcd4-da2975ecf913" providerId="ADAL" clId="{2E6CCF4E-53D5-45A2-8BC1-DD4410D02BCD}" dt="2022-07-04T12:50:54.784" v="977" actId="478"/>
          <ac:spMkLst>
            <pc:docMk/>
            <pc:sldMk cId="784037174" sldId="569"/>
            <ac:spMk id="29" creationId="{EBD9FE7C-CD72-4B7B-AD05-8DC094692138}"/>
          </ac:spMkLst>
        </pc:spChg>
        <pc:spChg chg="del">
          <ac:chgData name="Tongtong Wang" userId="5026a17a-445d-4aa4-bcd4-da2975ecf913" providerId="ADAL" clId="{2E6CCF4E-53D5-45A2-8BC1-DD4410D02BCD}" dt="2022-07-04T12:50:31.257" v="974" actId="478"/>
          <ac:spMkLst>
            <pc:docMk/>
            <pc:sldMk cId="784037174" sldId="569"/>
            <ac:spMk id="31" creationId="{47A92B6B-ED9B-41D4-9D80-DA9036CCEDAF}"/>
          </ac:spMkLst>
        </pc:spChg>
        <pc:spChg chg="mod">
          <ac:chgData name="Tongtong Wang" userId="5026a17a-445d-4aa4-bcd4-da2975ecf913" providerId="ADAL" clId="{2E6CCF4E-53D5-45A2-8BC1-DD4410D02BCD}" dt="2022-07-04T12:52:02.667" v="1007" actId="20577"/>
          <ac:spMkLst>
            <pc:docMk/>
            <pc:sldMk cId="784037174" sldId="569"/>
            <ac:spMk id="45" creationId="{ABE05CC7-87A9-4E18-AEA7-3CFE48FBF726}"/>
          </ac:spMkLst>
        </pc:spChg>
        <pc:picChg chg="add mod">
          <ac:chgData name="Tongtong Wang" userId="5026a17a-445d-4aa4-bcd4-da2975ecf913" providerId="ADAL" clId="{2E6CCF4E-53D5-45A2-8BC1-DD4410D02BCD}" dt="2022-07-11T13:09:18.931" v="2381" actId="1076"/>
          <ac:picMkLst>
            <pc:docMk/>
            <pc:sldMk cId="784037174" sldId="569"/>
            <ac:picMk id="3" creationId="{A0CAA4C5-B4C0-4DEB-A2C8-AAD069C65A2F}"/>
          </ac:picMkLst>
        </pc:picChg>
        <pc:picChg chg="del">
          <ac:chgData name="Tongtong Wang" userId="5026a17a-445d-4aa4-bcd4-da2975ecf913" providerId="ADAL" clId="{2E6CCF4E-53D5-45A2-8BC1-DD4410D02BCD}" dt="2022-07-04T12:50:05.009" v="969" actId="478"/>
          <ac:picMkLst>
            <pc:docMk/>
            <pc:sldMk cId="784037174" sldId="569"/>
            <ac:picMk id="3080" creationId="{755106FA-9FD6-4865-BD7A-7E049965668D}"/>
          </ac:picMkLst>
        </pc:picChg>
      </pc:sldChg>
      <pc:sldChg chg="addSp delSp modSp add mod modNotesTx">
        <pc:chgData name="Tongtong Wang" userId="5026a17a-445d-4aa4-bcd4-da2975ecf913" providerId="ADAL" clId="{2E6CCF4E-53D5-45A2-8BC1-DD4410D02BCD}" dt="2022-07-12T09:25:12.345" v="2556" actId="20577"/>
        <pc:sldMkLst>
          <pc:docMk/>
          <pc:sldMk cId="2958877676" sldId="570"/>
        </pc:sldMkLst>
        <pc:spChg chg="mod">
          <ac:chgData name="Tongtong Wang" userId="5026a17a-445d-4aa4-bcd4-da2975ecf913" providerId="ADAL" clId="{2E6CCF4E-53D5-45A2-8BC1-DD4410D02BCD}" dt="2022-07-12T09:25:12.345" v="2556" actId="20577"/>
          <ac:spMkLst>
            <pc:docMk/>
            <pc:sldMk cId="2958877676" sldId="570"/>
            <ac:spMk id="7" creationId="{63991A79-2DF5-4987-8986-F8B6237BF2C9}"/>
          </ac:spMkLst>
        </pc:spChg>
        <pc:spChg chg="mod">
          <ac:chgData name="Tongtong Wang" userId="5026a17a-445d-4aa4-bcd4-da2975ecf913" providerId="ADAL" clId="{2E6CCF4E-53D5-45A2-8BC1-DD4410D02BCD}" dt="2022-07-04T12:53:24.193" v="1072" actId="20577"/>
          <ac:spMkLst>
            <pc:docMk/>
            <pc:sldMk cId="2958877676" sldId="570"/>
            <ac:spMk id="45" creationId="{ABE05CC7-87A9-4E18-AEA7-3CFE48FBF726}"/>
          </ac:spMkLst>
        </pc:spChg>
        <pc:picChg chg="del">
          <ac:chgData name="Tongtong Wang" userId="5026a17a-445d-4aa4-bcd4-da2975ecf913" providerId="ADAL" clId="{2E6CCF4E-53D5-45A2-8BC1-DD4410D02BCD}" dt="2022-07-04T12:52:44.215" v="1051" actId="478"/>
          <ac:picMkLst>
            <pc:docMk/>
            <pc:sldMk cId="2958877676" sldId="570"/>
            <ac:picMk id="3" creationId="{A0CAA4C5-B4C0-4DEB-A2C8-AAD069C65A2F}"/>
          </ac:picMkLst>
        </pc:picChg>
        <pc:picChg chg="add mod">
          <ac:chgData name="Tongtong Wang" userId="5026a17a-445d-4aa4-bcd4-da2975ecf913" providerId="ADAL" clId="{2E6CCF4E-53D5-45A2-8BC1-DD4410D02BCD}" dt="2022-07-12T09:24:52.529" v="2555" actId="1076"/>
          <ac:picMkLst>
            <pc:docMk/>
            <pc:sldMk cId="2958877676" sldId="570"/>
            <ac:picMk id="8" creationId="{E8528E15-5848-437A-9FA9-9D1E767CC3D5}"/>
          </ac:picMkLst>
        </pc:picChg>
      </pc:sldChg>
      <pc:sldChg chg="addSp delSp modSp new del mod modClrScheme chgLayout">
        <pc:chgData name="Tongtong Wang" userId="5026a17a-445d-4aa4-bcd4-da2975ecf913" providerId="ADAL" clId="{2E6CCF4E-53D5-45A2-8BC1-DD4410D02BCD}" dt="2022-07-04T13:31:09.818" v="1154" actId="47"/>
        <pc:sldMkLst>
          <pc:docMk/>
          <pc:sldMk cId="2578071187" sldId="571"/>
        </pc:sldMkLst>
        <pc:spChg chg="del">
          <ac:chgData name="Tongtong Wang" userId="5026a17a-445d-4aa4-bcd4-da2975ecf913" providerId="ADAL" clId="{2E6CCF4E-53D5-45A2-8BC1-DD4410D02BCD}" dt="2022-07-04T13:25:57.709" v="1109" actId="478"/>
          <ac:spMkLst>
            <pc:docMk/>
            <pc:sldMk cId="2578071187" sldId="571"/>
            <ac:spMk id="2" creationId="{269BABFB-5A9F-4992-98A0-508F7D98EEB6}"/>
          </ac:spMkLst>
        </pc:spChg>
        <pc:spChg chg="del">
          <ac:chgData name="Tongtong Wang" userId="5026a17a-445d-4aa4-bcd4-da2975ecf913" providerId="ADAL" clId="{2E6CCF4E-53D5-45A2-8BC1-DD4410D02BCD}" dt="2022-07-04T13:27:38.453" v="1111" actId="26606"/>
          <ac:spMkLst>
            <pc:docMk/>
            <pc:sldMk cId="2578071187" sldId="571"/>
            <ac:spMk id="3" creationId="{42875485-9C92-467B-B802-BAEE377AD292}"/>
          </ac:spMkLst>
        </pc:spChg>
        <pc:spChg chg="add mod">
          <ac:chgData name="Tongtong Wang" userId="5026a17a-445d-4aa4-bcd4-da2975ecf913" providerId="ADAL" clId="{2E6CCF4E-53D5-45A2-8BC1-DD4410D02BCD}" dt="2022-07-04T13:27:38.453" v="1111" actId="26606"/>
          <ac:spMkLst>
            <pc:docMk/>
            <pc:sldMk cId="2578071187" sldId="571"/>
            <ac:spMk id="6" creationId="{25B79685-724E-4A89-BAD5-49DD051D7EA5}"/>
          </ac:spMkLst>
        </pc:spChg>
        <pc:spChg chg="add del mod">
          <ac:chgData name="Tongtong Wang" userId="5026a17a-445d-4aa4-bcd4-da2975ecf913" providerId="ADAL" clId="{2E6CCF4E-53D5-45A2-8BC1-DD4410D02BCD}" dt="2022-07-04T13:30:30.052" v="1142" actId="21"/>
          <ac:spMkLst>
            <pc:docMk/>
            <pc:sldMk cId="2578071187" sldId="571"/>
            <ac:spMk id="9" creationId="{E3B9F953-E170-4895-83EF-0B5DC2D6C710}"/>
          </ac:spMkLst>
        </pc:spChg>
        <pc:spChg chg="add del mod">
          <ac:chgData name="Tongtong Wang" userId="5026a17a-445d-4aa4-bcd4-da2975ecf913" providerId="ADAL" clId="{2E6CCF4E-53D5-45A2-8BC1-DD4410D02BCD}" dt="2022-07-04T13:29:38.656" v="1116" actId="478"/>
          <ac:spMkLst>
            <pc:docMk/>
            <pc:sldMk cId="2578071187" sldId="571"/>
            <ac:spMk id="11" creationId="{084B5AD6-4DDA-B074-6688-FC9E0243D026}"/>
          </ac:spMkLst>
        </pc:spChg>
        <pc:spChg chg="add mod">
          <ac:chgData name="Tongtong Wang" userId="5026a17a-445d-4aa4-bcd4-da2975ecf913" providerId="ADAL" clId="{2E6CCF4E-53D5-45A2-8BC1-DD4410D02BCD}" dt="2022-07-04T13:30:34.663" v="1145" actId="1076"/>
          <ac:spMkLst>
            <pc:docMk/>
            <pc:sldMk cId="2578071187" sldId="571"/>
            <ac:spMk id="13" creationId="{0B9069EB-D95E-4D6E-8835-CA0162678AB6}"/>
          </ac:spMkLst>
        </pc:spChg>
        <pc:picChg chg="add mod ord">
          <ac:chgData name="Tongtong Wang" userId="5026a17a-445d-4aa4-bcd4-da2975ecf913" providerId="ADAL" clId="{2E6CCF4E-53D5-45A2-8BC1-DD4410D02BCD}" dt="2022-07-04T13:30:31.271" v="1143" actId="1076"/>
          <ac:picMkLst>
            <pc:docMk/>
            <pc:sldMk cId="2578071187" sldId="571"/>
            <ac:picMk id="5" creationId="{83F51629-82D2-497A-B056-921B742EDE86}"/>
          </ac:picMkLst>
        </pc:picChg>
        <pc:picChg chg="add del mod modCrop">
          <ac:chgData name="Tongtong Wang" userId="5026a17a-445d-4aa4-bcd4-da2975ecf913" providerId="ADAL" clId="{2E6CCF4E-53D5-45A2-8BC1-DD4410D02BCD}" dt="2022-07-04T13:30:30.052" v="1142" actId="21"/>
          <ac:picMkLst>
            <pc:docMk/>
            <pc:sldMk cId="2578071187" sldId="571"/>
            <ac:picMk id="8" creationId="{5D29F8DF-36B7-4E13-9CD7-A2672DABDE74}"/>
          </ac:picMkLst>
        </pc:picChg>
        <pc:picChg chg="add mod">
          <ac:chgData name="Tongtong Wang" userId="5026a17a-445d-4aa4-bcd4-da2975ecf913" providerId="ADAL" clId="{2E6CCF4E-53D5-45A2-8BC1-DD4410D02BCD}" dt="2022-07-04T13:30:34.663" v="1145" actId="1076"/>
          <ac:picMkLst>
            <pc:docMk/>
            <pc:sldMk cId="2578071187" sldId="571"/>
            <ac:picMk id="12" creationId="{F9B0DDDB-9F78-46A5-910E-EE695B75BC1C}"/>
          </ac:picMkLst>
        </pc:picChg>
      </pc:sldChg>
      <pc:sldChg chg="addSp delSp modSp add mod ord delAnim modAnim modNotesTx">
        <pc:chgData name="Tongtong Wang" userId="5026a17a-445d-4aa4-bcd4-da2975ecf913" providerId="ADAL" clId="{2E6CCF4E-53D5-45A2-8BC1-DD4410D02BCD}" dt="2022-07-12T10:35:27.655" v="3162" actId="403"/>
        <pc:sldMkLst>
          <pc:docMk/>
          <pc:sldMk cId="2115009682" sldId="572"/>
        </pc:sldMkLst>
        <pc:spChg chg="add del mod">
          <ac:chgData name="Tongtong Wang" userId="5026a17a-445d-4aa4-bcd4-da2975ecf913" providerId="ADAL" clId="{2E6CCF4E-53D5-45A2-8BC1-DD4410D02BCD}" dt="2022-07-04T13:31:57.804" v="1172"/>
          <ac:spMkLst>
            <pc:docMk/>
            <pc:sldMk cId="2115009682" sldId="572"/>
            <ac:spMk id="2" creationId="{A0F80E0E-E331-4F66-A485-4CB1DB1BBEEC}"/>
          </ac:spMkLst>
        </pc:spChg>
        <pc:spChg chg="mod">
          <ac:chgData name="Tongtong Wang" userId="5026a17a-445d-4aa4-bcd4-da2975ecf913" providerId="ADAL" clId="{2E6CCF4E-53D5-45A2-8BC1-DD4410D02BCD}" dt="2022-07-04T13:31:05.034" v="1152" actId="5793"/>
          <ac:spMkLst>
            <pc:docMk/>
            <pc:sldMk cId="2115009682" sldId="572"/>
            <ac:spMk id="7" creationId="{63991A79-2DF5-4987-8986-F8B6237BF2C9}"/>
          </ac:spMkLst>
        </pc:spChg>
        <pc:spChg chg="add mod">
          <ac:chgData name="Tongtong Wang" userId="5026a17a-445d-4aa4-bcd4-da2975ecf913" providerId="ADAL" clId="{2E6CCF4E-53D5-45A2-8BC1-DD4410D02BCD}" dt="2022-07-04T13:31:06.275" v="1153"/>
          <ac:spMkLst>
            <pc:docMk/>
            <pc:sldMk cId="2115009682" sldId="572"/>
            <ac:spMk id="13" creationId="{DE6AF6CF-ECD9-49ED-AEA0-6F1E5AF42B87}"/>
          </ac:spMkLst>
        </pc:spChg>
        <pc:spChg chg="del">
          <ac:chgData name="Tongtong Wang" userId="5026a17a-445d-4aa4-bcd4-da2975ecf913" providerId="ADAL" clId="{2E6CCF4E-53D5-45A2-8BC1-DD4410D02BCD}" dt="2022-07-04T13:30:55.956" v="1150" actId="478"/>
          <ac:spMkLst>
            <pc:docMk/>
            <pc:sldMk cId="2115009682" sldId="572"/>
            <ac:spMk id="31" creationId="{CA590727-32C2-4B62-BCDA-123F8FA55798}"/>
          </ac:spMkLst>
        </pc:spChg>
        <pc:spChg chg="mod">
          <ac:chgData name="Tongtong Wang" userId="5026a17a-445d-4aa4-bcd4-da2975ecf913" providerId="ADAL" clId="{2E6CCF4E-53D5-45A2-8BC1-DD4410D02BCD}" dt="2022-07-12T10:35:27.655" v="3162" actId="403"/>
          <ac:spMkLst>
            <pc:docMk/>
            <pc:sldMk cId="2115009682" sldId="572"/>
            <ac:spMk id="45" creationId="{ABE05CC7-87A9-4E18-AEA7-3CFE48FBF726}"/>
          </ac:spMkLst>
        </pc:spChg>
        <pc:picChg chg="add mod">
          <ac:chgData name="Tongtong Wang" userId="5026a17a-445d-4aa4-bcd4-da2975ecf913" providerId="ADAL" clId="{2E6CCF4E-53D5-45A2-8BC1-DD4410D02BCD}" dt="2022-07-12T09:26:51.044" v="2563" actId="1076"/>
          <ac:picMkLst>
            <pc:docMk/>
            <pc:sldMk cId="2115009682" sldId="572"/>
            <ac:picMk id="3" creationId="{1D7FB8C3-7C5B-44B9-BE46-EF754D884628}"/>
          </ac:picMkLst>
        </pc:picChg>
        <pc:picChg chg="del">
          <ac:chgData name="Tongtong Wang" userId="5026a17a-445d-4aa4-bcd4-da2975ecf913" providerId="ADAL" clId="{2E6CCF4E-53D5-45A2-8BC1-DD4410D02BCD}" dt="2022-07-04T13:30:52.726" v="1147" actId="478"/>
          <ac:picMkLst>
            <pc:docMk/>
            <pc:sldMk cId="2115009682" sldId="572"/>
            <ac:picMk id="3" creationId="{5EC236E6-7ED4-4A9E-8824-37724A27718F}"/>
          </ac:picMkLst>
        </pc:picChg>
        <pc:picChg chg="del">
          <ac:chgData name="Tongtong Wang" userId="5026a17a-445d-4aa4-bcd4-da2975ecf913" providerId="ADAL" clId="{2E6CCF4E-53D5-45A2-8BC1-DD4410D02BCD}" dt="2022-07-04T13:30:53.793" v="1148" actId="478"/>
          <ac:picMkLst>
            <pc:docMk/>
            <pc:sldMk cId="2115009682" sldId="572"/>
            <ac:picMk id="4" creationId="{6327F766-DEF8-4C94-B8FB-CED314481F46}"/>
          </ac:picMkLst>
        </pc:picChg>
        <pc:picChg chg="add mod ord">
          <ac:chgData name="Tongtong Wang" userId="5026a17a-445d-4aa4-bcd4-da2975ecf913" providerId="ADAL" clId="{2E6CCF4E-53D5-45A2-8BC1-DD4410D02BCD}" dt="2022-07-12T09:27:38.080" v="2572" actId="1076"/>
          <ac:picMkLst>
            <pc:docMk/>
            <pc:sldMk cId="2115009682" sldId="572"/>
            <ac:picMk id="11" creationId="{0481A567-DFA4-4EE2-806D-A1BD38EF2E37}"/>
          </ac:picMkLst>
        </pc:picChg>
        <pc:picChg chg="add mod">
          <ac:chgData name="Tongtong Wang" userId="5026a17a-445d-4aa4-bcd4-da2975ecf913" providerId="ADAL" clId="{2E6CCF4E-53D5-45A2-8BC1-DD4410D02BCD}" dt="2022-07-04T13:31:06.275" v="1153"/>
          <ac:picMkLst>
            <pc:docMk/>
            <pc:sldMk cId="2115009682" sldId="572"/>
            <ac:picMk id="12" creationId="{8C67C0EE-4A51-4D48-B552-57FF1D27344B}"/>
          </ac:picMkLst>
        </pc:picChg>
        <pc:picChg chg="del">
          <ac:chgData name="Tongtong Wang" userId="5026a17a-445d-4aa4-bcd4-da2975ecf913" providerId="ADAL" clId="{2E6CCF4E-53D5-45A2-8BC1-DD4410D02BCD}" dt="2022-07-04T13:30:54.357" v="1149" actId="478"/>
          <ac:picMkLst>
            <pc:docMk/>
            <pc:sldMk cId="2115009682" sldId="572"/>
            <ac:picMk id="22530" creationId="{779619B4-FB01-4996-9B7D-EFAF80049EFC}"/>
          </ac:picMkLst>
        </pc:picChg>
      </pc:sldChg>
      <pc:sldChg chg="addSp delSp modSp new del mod ord modAnim">
        <pc:chgData name="Tongtong Wang" userId="5026a17a-445d-4aa4-bcd4-da2975ecf913" providerId="ADAL" clId="{2E6CCF4E-53D5-45A2-8BC1-DD4410D02BCD}" dt="2022-07-12T10:23:54.888" v="2743" actId="47"/>
        <pc:sldMkLst>
          <pc:docMk/>
          <pc:sldMk cId="3618704765" sldId="573"/>
        </pc:sldMkLst>
        <pc:spChg chg="del">
          <ac:chgData name="Tongtong Wang" userId="5026a17a-445d-4aa4-bcd4-da2975ecf913" providerId="ADAL" clId="{2E6CCF4E-53D5-45A2-8BC1-DD4410D02BCD}" dt="2022-07-12T10:23:02.447" v="2726"/>
          <ac:spMkLst>
            <pc:docMk/>
            <pc:sldMk cId="3618704765" sldId="573"/>
            <ac:spMk id="3" creationId="{026927F6-3666-4BD9-8344-72E269DC13D7}"/>
          </ac:spMkLst>
        </pc:spChg>
        <pc:spChg chg="add del mod">
          <ac:chgData name="Tongtong Wang" userId="5026a17a-445d-4aa4-bcd4-da2975ecf913" providerId="ADAL" clId="{2E6CCF4E-53D5-45A2-8BC1-DD4410D02BCD}" dt="2022-07-12T10:23:05.571" v="2728" actId="478"/>
          <ac:spMkLst>
            <pc:docMk/>
            <pc:sldMk cId="3618704765" sldId="573"/>
            <ac:spMk id="5" creationId="{A0C426D5-93F2-406F-838B-AEBEA0C33E63}"/>
          </ac:spMkLst>
        </pc:spChg>
        <pc:spChg chg="add del mod">
          <ac:chgData name="Tongtong Wang" userId="5026a17a-445d-4aa4-bcd4-da2975ecf913" providerId="ADAL" clId="{2E6CCF4E-53D5-45A2-8BC1-DD4410D02BCD}" dt="2022-07-12T10:23:04.662" v="2727" actId="478"/>
          <ac:spMkLst>
            <pc:docMk/>
            <pc:sldMk cId="3618704765" sldId="573"/>
            <ac:spMk id="7" creationId="{D3CC7850-CCE1-44D0-9949-3114CECB5B12}"/>
          </ac:spMkLst>
        </pc:spChg>
        <pc:picChg chg="add mod">
          <ac:chgData name="Tongtong Wang" userId="5026a17a-445d-4aa4-bcd4-da2975ecf913" providerId="ADAL" clId="{2E6CCF4E-53D5-45A2-8BC1-DD4410D02BCD}" dt="2022-07-12T10:23:16.174" v="2734" actId="1076"/>
          <ac:picMkLst>
            <pc:docMk/>
            <pc:sldMk cId="3618704765" sldId="573"/>
            <ac:picMk id="4" creationId="{02A1E754-1CAF-4387-A1F5-DCAD3E4708A5}"/>
          </ac:picMkLst>
        </pc:picChg>
      </pc:sldChg>
      <pc:sldChg chg="addSp delSp modSp add del mod ord">
        <pc:chgData name="Tongtong Wang" userId="5026a17a-445d-4aa4-bcd4-da2975ecf913" providerId="ADAL" clId="{2E6CCF4E-53D5-45A2-8BC1-DD4410D02BCD}" dt="2022-07-06T13:47:01.469" v="1644" actId="47"/>
        <pc:sldMkLst>
          <pc:docMk/>
          <pc:sldMk cId="2432698202" sldId="574"/>
        </pc:sldMkLst>
        <pc:spChg chg="add del mod">
          <ac:chgData name="Tongtong Wang" userId="5026a17a-445d-4aa4-bcd4-da2975ecf913" providerId="ADAL" clId="{2E6CCF4E-53D5-45A2-8BC1-DD4410D02BCD}" dt="2022-07-05T11:43:18.870" v="1389" actId="21"/>
          <ac:spMkLst>
            <pc:docMk/>
            <pc:sldMk cId="2432698202" sldId="574"/>
            <ac:spMk id="2" creationId="{5AD3A704-1141-4C90-A997-8B8BFA006136}"/>
          </ac:spMkLst>
        </pc:spChg>
        <pc:spChg chg="add del mod">
          <ac:chgData name="Tongtong Wang" userId="5026a17a-445d-4aa4-bcd4-da2975ecf913" providerId="ADAL" clId="{2E6CCF4E-53D5-45A2-8BC1-DD4410D02BCD}" dt="2022-07-05T11:43:19.822" v="1390" actId="1076"/>
          <ac:spMkLst>
            <pc:docMk/>
            <pc:sldMk cId="2432698202" sldId="574"/>
            <ac:spMk id="7" creationId="{63991A79-2DF5-4987-8986-F8B6237BF2C9}"/>
          </ac:spMkLst>
        </pc:spChg>
        <pc:spChg chg="mod">
          <ac:chgData name="Tongtong Wang" userId="5026a17a-445d-4aa4-bcd4-da2975ecf913" providerId="ADAL" clId="{2E6CCF4E-53D5-45A2-8BC1-DD4410D02BCD}" dt="2022-07-05T11:36:59.549" v="1262" actId="20577"/>
          <ac:spMkLst>
            <pc:docMk/>
            <pc:sldMk cId="2432698202" sldId="574"/>
            <ac:spMk id="45" creationId="{ABE05CC7-87A9-4E18-AEA7-3CFE48FBF726}"/>
          </ac:spMkLst>
        </pc:spChg>
        <pc:picChg chg="del">
          <ac:chgData name="Tongtong Wang" userId="5026a17a-445d-4aa4-bcd4-da2975ecf913" providerId="ADAL" clId="{2E6CCF4E-53D5-45A2-8BC1-DD4410D02BCD}" dt="2022-07-05T11:37:01.384" v="1263" actId="478"/>
          <ac:picMkLst>
            <pc:docMk/>
            <pc:sldMk cId="2432698202" sldId="574"/>
            <ac:picMk id="3" creationId="{A0CAA4C5-B4C0-4DEB-A2C8-AAD069C65A2F}"/>
          </ac:picMkLst>
        </pc:picChg>
        <pc:picChg chg="add mod">
          <ac:chgData name="Tongtong Wang" userId="5026a17a-445d-4aa4-bcd4-da2975ecf913" providerId="ADAL" clId="{2E6CCF4E-53D5-45A2-8BC1-DD4410D02BCD}" dt="2022-07-05T11:44:17.180" v="1410" actId="1076"/>
          <ac:picMkLst>
            <pc:docMk/>
            <pc:sldMk cId="2432698202" sldId="574"/>
            <ac:picMk id="10" creationId="{0F23FA45-2200-4A9F-BEF2-D6C7E3A58F17}"/>
          </ac:picMkLst>
        </pc:picChg>
        <pc:picChg chg="add del mod">
          <ac:chgData name="Tongtong Wang" userId="5026a17a-445d-4aa4-bcd4-da2975ecf913" providerId="ADAL" clId="{2E6CCF4E-53D5-45A2-8BC1-DD4410D02BCD}" dt="2022-07-05T11:44:15.688" v="1409" actId="478"/>
          <ac:picMkLst>
            <pc:docMk/>
            <pc:sldMk cId="2432698202" sldId="574"/>
            <ac:picMk id="33794" creationId="{C58BCA56-5C8E-4DA6-83A7-EB36DD6237D7}"/>
          </ac:picMkLst>
        </pc:picChg>
      </pc:sldChg>
      <pc:sldChg chg="addSp delSp modSp add mod modNotesTx">
        <pc:chgData name="Tongtong Wang" userId="5026a17a-445d-4aa4-bcd4-da2975ecf913" providerId="ADAL" clId="{2E6CCF4E-53D5-45A2-8BC1-DD4410D02BCD}" dt="2022-07-06T13:43:30.151" v="1586" actId="20577"/>
        <pc:sldMkLst>
          <pc:docMk/>
          <pc:sldMk cId="2105756326" sldId="575"/>
        </pc:sldMkLst>
        <pc:spChg chg="add mod">
          <ac:chgData name="Tongtong Wang" userId="5026a17a-445d-4aa4-bcd4-da2975ecf913" providerId="ADAL" clId="{2E6CCF4E-53D5-45A2-8BC1-DD4410D02BCD}" dt="2022-07-06T09:41:03.029" v="1555" actId="1076"/>
          <ac:spMkLst>
            <pc:docMk/>
            <pc:sldMk cId="2105756326" sldId="575"/>
            <ac:spMk id="2" creationId="{3F4ED8F6-B2AB-4B21-B259-1A21DBAED29A}"/>
          </ac:spMkLst>
        </pc:spChg>
        <pc:spChg chg="mod">
          <ac:chgData name="Tongtong Wang" userId="5026a17a-445d-4aa4-bcd4-da2975ecf913" providerId="ADAL" clId="{2E6CCF4E-53D5-45A2-8BC1-DD4410D02BCD}" dt="2022-07-06T09:38:23.194" v="1534" actId="20577"/>
          <ac:spMkLst>
            <pc:docMk/>
            <pc:sldMk cId="2105756326" sldId="575"/>
            <ac:spMk id="7" creationId="{63991A79-2DF5-4987-8986-F8B6237BF2C9}"/>
          </ac:spMkLst>
        </pc:spChg>
        <pc:spChg chg="add mod">
          <ac:chgData name="Tongtong Wang" userId="5026a17a-445d-4aa4-bcd4-da2975ecf913" providerId="ADAL" clId="{2E6CCF4E-53D5-45A2-8BC1-DD4410D02BCD}" dt="2022-07-06T09:41:03.029" v="1555" actId="1076"/>
          <ac:spMkLst>
            <pc:docMk/>
            <pc:sldMk cId="2105756326" sldId="575"/>
            <ac:spMk id="11" creationId="{C8B9E813-0510-4E9D-A481-EE001DAB792E}"/>
          </ac:spMkLst>
        </pc:spChg>
        <pc:spChg chg="add mod">
          <ac:chgData name="Tongtong Wang" userId="5026a17a-445d-4aa4-bcd4-da2975ecf913" providerId="ADAL" clId="{2E6CCF4E-53D5-45A2-8BC1-DD4410D02BCD}" dt="2022-07-06T09:41:03.029" v="1555" actId="1076"/>
          <ac:spMkLst>
            <pc:docMk/>
            <pc:sldMk cId="2105756326" sldId="575"/>
            <ac:spMk id="12" creationId="{2F07ADF2-4969-432C-AC78-AD7623B1C652}"/>
          </ac:spMkLst>
        </pc:spChg>
        <pc:spChg chg="add mod">
          <ac:chgData name="Tongtong Wang" userId="5026a17a-445d-4aa4-bcd4-da2975ecf913" providerId="ADAL" clId="{2E6CCF4E-53D5-45A2-8BC1-DD4410D02BCD}" dt="2022-07-06T09:41:03.029" v="1555" actId="1076"/>
          <ac:spMkLst>
            <pc:docMk/>
            <pc:sldMk cId="2105756326" sldId="575"/>
            <ac:spMk id="13" creationId="{C15636BA-E68B-42E8-BD1B-E98DAA8CE717}"/>
          </ac:spMkLst>
        </pc:spChg>
        <pc:spChg chg="mod">
          <ac:chgData name="Tongtong Wang" userId="5026a17a-445d-4aa4-bcd4-da2975ecf913" providerId="ADAL" clId="{2E6CCF4E-53D5-45A2-8BC1-DD4410D02BCD}" dt="2022-07-06T13:43:30.151" v="1586" actId="20577"/>
          <ac:spMkLst>
            <pc:docMk/>
            <pc:sldMk cId="2105756326" sldId="575"/>
            <ac:spMk id="45" creationId="{ABE05CC7-87A9-4E18-AEA7-3CFE48FBF726}"/>
          </ac:spMkLst>
        </pc:spChg>
        <pc:picChg chg="add mod">
          <ac:chgData name="Tongtong Wang" userId="5026a17a-445d-4aa4-bcd4-da2975ecf913" providerId="ADAL" clId="{2E6CCF4E-53D5-45A2-8BC1-DD4410D02BCD}" dt="2022-07-06T09:38:28.765" v="1537" actId="1076"/>
          <ac:picMkLst>
            <pc:docMk/>
            <pc:sldMk cId="2105756326" sldId="575"/>
            <ac:picMk id="9" creationId="{5472148F-B319-4290-A586-E35538959778}"/>
          </ac:picMkLst>
        </pc:picChg>
        <pc:picChg chg="del">
          <ac:chgData name="Tongtong Wang" userId="5026a17a-445d-4aa4-bcd4-da2975ecf913" providerId="ADAL" clId="{2E6CCF4E-53D5-45A2-8BC1-DD4410D02BCD}" dt="2022-07-05T11:44:14.026" v="1408" actId="478"/>
          <ac:picMkLst>
            <pc:docMk/>
            <pc:sldMk cId="2105756326" sldId="575"/>
            <ac:picMk id="10" creationId="{0F23FA45-2200-4A9F-BEF2-D6C7E3A58F17}"/>
          </ac:picMkLst>
        </pc:picChg>
        <pc:picChg chg="del mod">
          <ac:chgData name="Tongtong Wang" userId="5026a17a-445d-4aa4-bcd4-da2975ecf913" providerId="ADAL" clId="{2E6CCF4E-53D5-45A2-8BC1-DD4410D02BCD}" dt="2022-07-06T09:34:10.792" v="1488" actId="478"/>
          <ac:picMkLst>
            <pc:docMk/>
            <pc:sldMk cId="2105756326" sldId="575"/>
            <ac:picMk id="33794" creationId="{C58BCA56-5C8E-4DA6-83A7-EB36DD6237D7}"/>
          </ac:picMkLst>
        </pc:picChg>
        <pc:picChg chg="add del mod">
          <ac:chgData name="Tongtong Wang" userId="5026a17a-445d-4aa4-bcd4-da2975ecf913" providerId="ADAL" clId="{2E6CCF4E-53D5-45A2-8BC1-DD4410D02BCD}" dt="2022-07-06T09:32:32.805" v="1473" actId="478"/>
          <ac:picMkLst>
            <pc:docMk/>
            <pc:sldMk cId="2105756326" sldId="575"/>
            <ac:picMk id="35842" creationId="{61D8A7B3-4FBE-4C35-B569-7DC3A8C321D9}"/>
          </ac:picMkLst>
        </pc:picChg>
      </pc:sldChg>
      <pc:sldChg chg="addSp modSp new add del mod ord modNotesTx">
        <pc:chgData name="Tongtong Wang" userId="5026a17a-445d-4aa4-bcd4-da2975ecf913" providerId="ADAL" clId="{2E6CCF4E-53D5-45A2-8BC1-DD4410D02BCD}" dt="2022-07-06T13:46:53.811" v="1643" actId="47"/>
        <pc:sldMkLst>
          <pc:docMk/>
          <pc:sldMk cId="1532876995" sldId="576"/>
        </pc:sldMkLst>
        <pc:spChg chg="mod">
          <ac:chgData name="Tongtong Wang" userId="5026a17a-445d-4aa4-bcd4-da2975ecf913" providerId="ADAL" clId="{2E6CCF4E-53D5-45A2-8BC1-DD4410D02BCD}" dt="2022-07-05T11:46:08.079" v="1420"/>
          <ac:spMkLst>
            <pc:docMk/>
            <pc:sldMk cId="1532876995" sldId="576"/>
            <ac:spMk id="3" creationId="{716CD69C-5B67-4A13-9689-22A8796827E5}"/>
          </ac:spMkLst>
        </pc:spChg>
        <pc:picChg chg="add mod">
          <ac:chgData name="Tongtong Wang" userId="5026a17a-445d-4aa4-bcd4-da2975ecf913" providerId="ADAL" clId="{2E6CCF4E-53D5-45A2-8BC1-DD4410D02BCD}" dt="2022-07-05T11:46:10.328" v="1421" actId="1076"/>
          <ac:picMkLst>
            <pc:docMk/>
            <pc:sldMk cId="1532876995" sldId="576"/>
            <ac:picMk id="34818" creationId="{DBC47F3A-B099-48EE-9FC2-6DD54E7DAC26}"/>
          </ac:picMkLst>
        </pc:picChg>
      </pc:sldChg>
      <pc:sldChg chg="addSp delSp modSp new del mod modClrScheme chgLayout">
        <pc:chgData name="Tongtong Wang" userId="5026a17a-445d-4aa4-bcd4-da2975ecf913" providerId="ADAL" clId="{2E6CCF4E-53D5-45A2-8BC1-DD4410D02BCD}" dt="2022-07-12T10:24:29.478" v="2745" actId="47"/>
        <pc:sldMkLst>
          <pc:docMk/>
          <pc:sldMk cId="3203608437" sldId="577"/>
        </pc:sldMkLst>
        <pc:spChg chg="del mod ord">
          <ac:chgData name="Tongtong Wang" userId="5026a17a-445d-4aa4-bcd4-da2975ecf913" providerId="ADAL" clId="{2E6CCF4E-53D5-45A2-8BC1-DD4410D02BCD}" dt="2022-07-05T11:59:11.342" v="1437" actId="700"/>
          <ac:spMkLst>
            <pc:docMk/>
            <pc:sldMk cId="3203608437" sldId="577"/>
            <ac:spMk id="2" creationId="{4B7305E7-20AD-4200-9868-CFB7CC8EB66E}"/>
          </ac:spMkLst>
        </pc:spChg>
        <pc:spChg chg="mod ord">
          <ac:chgData name="Tongtong Wang" userId="5026a17a-445d-4aa4-bcd4-da2975ecf913" providerId="ADAL" clId="{2E6CCF4E-53D5-45A2-8BC1-DD4410D02BCD}" dt="2022-07-05T12:37:39.853" v="1443" actId="20577"/>
          <ac:spMkLst>
            <pc:docMk/>
            <pc:sldMk cId="3203608437" sldId="577"/>
            <ac:spMk id="3" creationId="{DD035345-F1E6-45BF-B274-C79026B9DADE}"/>
          </ac:spMkLst>
        </pc:spChg>
        <pc:spChg chg="add mod ord">
          <ac:chgData name="Tongtong Wang" userId="5026a17a-445d-4aa4-bcd4-da2975ecf913" providerId="ADAL" clId="{2E6CCF4E-53D5-45A2-8BC1-DD4410D02BCD}" dt="2022-07-05T12:37:33.726" v="1440"/>
          <ac:spMkLst>
            <pc:docMk/>
            <pc:sldMk cId="3203608437" sldId="577"/>
            <ac:spMk id="4" creationId="{78E286B0-4C0E-433C-AB7E-30B84D29CAB9}"/>
          </ac:spMkLst>
        </pc:spChg>
        <pc:spChg chg="add mod ord">
          <ac:chgData name="Tongtong Wang" userId="5026a17a-445d-4aa4-bcd4-da2975ecf913" providerId="ADAL" clId="{2E6CCF4E-53D5-45A2-8BC1-DD4410D02BCD}" dt="2022-07-05T12:39:15.046" v="1464"/>
          <ac:spMkLst>
            <pc:docMk/>
            <pc:sldMk cId="3203608437" sldId="577"/>
            <ac:spMk id="5" creationId="{C981CFCF-0501-4090-84C1-853ECA770728}"/>
          </ac:spMkLst>
        </pc:spChg>
        <pc:picChg chg="add mod">
          <ac:chgData name="Tongtong Wang" userId="5026a17a-445d-4aa4-bcd4-da2975ecf913" providerId="ADAL" clId="{2E6CCF4E-53D5-45A2-8BC1-DD4410D02BCD}" dt="2022-07-05T12:59:13.842" v="1467" actId="1076"/>
          <ac:picMkLst>
            <pc:docMk/>
            <pc:sldMk cId="3203608437" sldId="577"/>
            <ac:picMk id="6" creationId="{C121EAB9-1102-41CC-B151-02ED049C467F}"/>
          </ac:picMkLst>
        </pc:picChg>
      </pc:sldChg>
      <pc:sldChg chg="addSp delSp modSp add del mod">
        <pc:chgData name="Tongtong Wang" userId="5026a17a-445d-4aa4-bcd4-da2975ecf913" providerId="ADAL" clId="{2E6CCF4E-53D5-45A2-8BC1-DD4410D02BCD}" dt="2022-07-06T13:47:23.059" v="1649" actId="47"/>
        <pc:sldMkLst>
          <pc:docMk/>
          <pc:sldMk cId="1419864644" sldId="578"/>
        </pc:sldMkLst>
        <pc:spChg chg="mod">
          <ac:chgData name="Tongtong Wang" userId="5026a17a-445d-4aa4-bcd4-da2975ecf913" providerId="ADAL" clId="{2E6CCF4E-53D5-45A2-8BC1-DD4410D02BCD}" dt="2022-07-06T13:43:10.267" v="1572" actId="20577"/>
          <ac:spMkLst>
            <pc:docMk/>
            <pc:sldMk cId="1419864644" sldId="578"/>
            <ac:spMk id="7" creationId="{63991A79-2DF5-4987-8986-F8B6237BF2C9}"/>
          </ac:spMkLst>
        </pc:spChg>
        <pc:picChg chg="add del mod">
          <ac:chgData name="Tongtong Wang" userId="5026a17a-445d-4aa4-bcd4-da2975ecf913" providerId="ADAL" clId="{2E6CCF4E-53D5-45A2-8BC1-DD4410D02BCD}" dt="2022-07-06T13:45:46.899" v="1602"/>
          <ac:picMkLst>
            <pc:docMk/>
            <pc:sldMk cId="1419864644" sldId="578"/>
            <ac:picMk id="9" creationId="{99C60288-AF8D-424E-8F64-AA854BF785DB}"/>
          </ac:picMkLst>
        </pc:picChg>
        <pc:picChg chg="del mod">
          <ac:chgData name="Tongtong Wang" userId="5026a17a-445d-4aa4-bcd4-da2975ecf913" providerId="ADAL" clId="{2E6CCF4E-53D5-45A2-8BC1-DD4410D02BCD}" dt="2022-07-06T13:42:46.631" v="1569" actId="478"/>
          <ac:picMkLst>
            <pc:docMk/>
            <pc:sldMk cId="1419864644" sldId="578"/>
            <ac:picMk id="33794" creationId="{C58BCA56-5C8E-4DA6-83A7-EB36DD6237D7}"/>
          </ac:picMkLst>
        </pc:picChg>
        <pc:picChg chg="del">
          <ac:chgData name="Tongtong Wang" userId="5026a17a-445d-4aa4-bcd4-da2975ecf913" providerId="ADAL" clId="{2E6CCF4E-53D5-45A2-8BC1-DD4410D02BCD}" dt="2022-07-06T09:38:56.454" v="1542" actId="478"/>
          <ac:picMkLst>
            <pc:docMk/>
            <pc:sldMk cId="1419864644" sldId="578"/>
            <ac:picMk id="35842" creationId="{61D8A7B3-4FBE-4C35-B569-7DC3A8C321D9}"/>
          </ac:picMkLst>
        </pc:picChg>
      </pc:sldChg>
      <pc:sldChg chg="addSp delSp modSp add mod modNotesTx">
        <pc:chgData name="Tongtong Wang" userId="5026a17a-445d-4aa4-bcd4-da2975ecf913" providerId="ADAL" clId="{2E6CCF4E-53D5-45A2-8BC1-DD4410D02BCD}" dt="2022-07-06T13:49:03.438" v="1653" actId="113"/>
        <pc:sldMkLst>
          <pc:docMk/>
          <pc:sldMk cId="1219844231" sldId="579"/>
        </pc:sldMkLst>
        <pc:spChg chg="del">
          <ac:chgData name="Tongtong Wang" userId="5026a17a-445d-4aa4-bcd4-da2975ecf913" providerId="ADAL" clId="{2E6CCF4E-53D5-45A2-8BC1-DD4410D02BCD}" dt="2022-07-06T09:38:51.124" v="1540" actId="478"/>
          <ac:spMkLst>
            <pc:docMk/>
            <pc:sldMk cId="1219844231" sldId="579"/>
            <ac:spMk id="2" creationId="{3F4ED8F6-B2AB-4B21-B259-1A21DBAED29A}"/>
          </ac:spMkLst>
        </pc:spChg>
        <pc:spChg chg="add">
          <ac:chgData name="Tongtong Wang" userId="5026a17a-445d-4aa4-bcd4-da2975ecf913" providerId="ADAL" clId="{2E6CCF4E-53D5-45A2-8BC1-DD4410D02BCD}" dt="2022-07-06T13:36:32.219" v="1564"/>
          <ac:spMkLst>
            <pc:docMk/>
            <pc:sldMk cId="1219844231" sldId="579"/>
            <ac:spMk id="3" creationId="{B085D364-8EB2-4AE7-AC68-77E099C4EEB8}"/>
          </ac:spMkLst>
        </pc:spChg>
        <pc:spChg chg="mod">
          <ac:chgData name="Tongtong Wang" userId="5026a17a-445d-4aa4-bcd4-da2975ecf913" providerId="ADAL" clId="{2E6CCF4E-53D5-45A2-8BC1-DD4410D02BCD}" dt="2022-07-06T13:49:03.438" v="1653" actId="113"/>
          <ac:spMkLst>
            <pc:docMk/>
            <pc:sldMk cId="1219844231" sldId="579"/>
            <ac:spMk id="7" creationId="{63991A79-2DF5-4987-8986-F8B6237BF2C9}"/>
          </ac:spMkLst>
        </pc:spChg>
        <pc:spChg chg="del">
          <ac:chgData name="Tongtong Wang" userId="5026a17a-445d-4aa4-bcd4-da2975ecf913" providerId="ADAL" clId="{2E6CCF4E-53D5-45A2-8BC1-DD4410D02BCD}" dt="2022-07-06T09:38:52.302" v="1541" actId="478"/>
          <ac:spMkLst>
            <pc:docMk/>
            <pc:sldMk cId="1219844231" sldId="579"/>
            <ac:spMk id="11" creationId="{C8B9E813-0510-4E9D-A481-EE001DAB792E}"/>
          </ac:spMkLst>
        </pc:spChg>
        <pc:spChg chg="mod">
          <ac:chgData name="Tongtong Wang" userId="5026a17a-445d-4aa4-bcd4-da2975ecf913" providerId="ADAL" clId="{2E6CCF4E-53D5-45A2-8BC1-DD4410D02BCD}" dt="2022-07-06T13:43:48.687" v="1590" actId="20577"/>
          <ac:spMkLst>
            <pc:docMk/>
            <pc:sldMk cId="1219844231" sldId="579"/>
            <ac:spMk id="45" creationId="{ABE05CC7-87A9-4E18-AEA7-3CFE48FBF726}"/>
          </ac:spMkLst>
        </pc:spChg>
        <pc:picChg chg="add mod">
          <ac:chgData name="Tongtong Wang" userId="5026a17a-445d-4aa4-bcd4-da2975ecf913" providerId="ADAL" clId="{2E6CCF4E-53D5-45A2-8BC1-DD4410D02BCD}" dt="2022-07-06T13:37:06.706" v="1568" actId="1076"/>
          <ac:picMkLst>
            <pc:docMk/>
            <pc:sldMk cId="1219844231" sldId="579"/>
            <ac:picMk id="5" creationId="{0BD365AD-BD56-46BC-B891-759860B17028}"/>
          </ac:picMkLst>
        </pc:picChg>
        <pc:picChg chg="del">
          <ac:chgData name="Tongtong Wang" userId="5026a17a-445d-4aa4-bcd4-da2975ecf913" providerId="ADAL" clId="{2E6CCF4E-53D5-45A2-8BC1-DD4410D02BCD}" dt="2022-07-06T09:38:50.055" v="1539" actId="478"/>
          <ac:picMkLst>
            <pc:docMk/>
            <pc:sldMk cId="1219844231" sldId="579"/>
            <ac:picMk id="9" creationId="{5472148F-B319-4290-A586-E35538959778}"/>
          </ac:picMkLst>
        </pc:picChg>
        <pc:picChg chg="add del mod">
          <ac:chgData name="Tongtong Wang" userId="5026a17a-445d-4aa4-bcd4-da2975ecf913" providerId="ADAL" clId="{2E6CCF4E-53D5-45A2-8BC1-DD4410D02BCD}" dt="2022-07-06T13:36:34.258" v="1565" actId="478"/>
          <ac:picMkLst>
            <pc:docMk/>
            <pc:sldMk cId="1219844231" sldId="579"/>
            <ac:picMk id="10" creationId="{821D04AE-5BE8-40F9-811F-95403401448C}"/>
          </ac:picMkLst>
        </pc:picChg>
      </pc:sldChg>
      <pc:sldChg chg="addSp delSp modSp add mod modNotesTx">
        <pc:chgData name="Tongtong Wang" userId="5026a17a-445d-4aa4-bcd4-da2975ecf913" providerId="ADAL" clId="{2E6CCF4E-53D5-45A2-8BC1-DD4410D02BCD}" dt="2022-07-11T11:35:00.626" v="1745" actId="1076"/>
        <pc:sldMkLst>
          <pc:docMk/>
          <pc:sldMk cId="2329499921" sldId="580"/>
        </pc:sldMkLst>
        <pc:spChg chg="mod">
          <ac:chgData name="Tongtong Wang" userId="5026a17a-445d-4aa4-bcd4-da2975ecf913" providerId="ADAL" clId="{2E6CCF4E-53D5-45A2-8BC1-DD4410D02BCD}" dt="2022-07-06T13:46:46.265" v="1641" actId="20577"/>
          <ac:spMkLst>
            <pc:docMk/>
            <pc:sldMk cId="2329499921" sldId="580"/>
            <ac:spMk id="7" creationId="{63991A79-2DF5-4987-8986-F8B6237BF2C9}"/>
          </ac:spMkLst>
        </pc:spChg>
        <pc:spChg chg="mod">
          <ac:chgData name="Tongtong Wang" userId="5026a17a-445d-4aa4-bcd4-da2975ecf913" providerId="ADAL" clId="{2E6CCF4E-53D5-45A2-8BC1-DD4410D02BCD}" dt="2022-07-06T13:44:00.090" v="1591"/>
          <ac:spMkLst>
            <pc:docMk/>
            <pc:sldMk cId="2329499921" sldId="580"/>
            <ac:spMk id="45" creationId="{ABE05CC7-87A9-4E18-AEA7-3CFE48FBF726}"/>
          </ac:spMkLst>
        </pc:spChg>
        <pc:picChg chg="del">
          <ac:chgData name="Tongtong Wang" userId="5026a17a-445d-4aa4-bcd4-da2975ecf913" providerId="ADAL" clId="{2E6CCF4E-53D5-45A2-8BC1-DD4410D02BCD}" dt="2022-07-06T13:43:04.295" v="1571" actId="478"/>
          <ac:picMkLst>
            <pc:docMk/>
            <pc:sldMk cId="2329499921" sldId="580"/>
            <ac:picMk id="5" creationId="{0BD365AD-BD56-46BC-B891-759860B17028}"/>
          </ac:picMkLst>
        </pc:picChg>
        <pc:picChg chg="add mod">
          <ac:chgData name="Tongtong Wang" userId="5026a17a-445d-4aa4-bcd4-da2975ecf913" providerId="ADAL" clId="{2E6CCF4E-53D5-45A2-8BC1-DD4410D02BCD}" dt="2022-07-11T11:35:00.626" v="1745" actId="1076"/>
          <ac:picMkLst>
            <pc:docMk/>
            <pc:sldMk cId="2329499921" sldId="580"/>
            <ac:picMk id="9" creationId="{80589BDE-126F-4384-82A4-A010DB68A120}"/>
          </ac:picMkLst>
        </pc:picChg>
        <pc:picChg chg="add mod">
          <ac:chgData name="Tongtong Wang" userId="5026a17a-445d-4aa4-bcd4-da2975ecf913" providerId="ADAL" clId="{2E6CCF4E-53D5-45A2-8BC1-DD4410D02BCD}" dt="2022-07-11T11:34:58.632" v="1744" actId="1076"/>
          <ac:picMkLst>
            <pc:docMk/>
            <pc:sldMk cId="2329499921" sldId="580"/>
            <ac:picMk id="1026" creationId="{1D982F4E-9C37-483E-963E-AB7915A4ADD0}"/>
          </ac:picMkLst>
        </pc:picChg>
      </pc:sldChg>
      <pc:sldChg chg="addSp delSp modSp add mod modAnim modNotesTx">
        <pc:chgData name="Tongtong Wang" userId="5026a17a-445d-4aa4-bcd4-da2975ecf913" providerId="ADAL" clId="{2E6CCF4E-53D5-45A2-8BC1-DD4410D02BCD}" dt="2022-07-07T11:42:52.962" v="1731" actId="20577"/>
        <pc:sldMkLst>
          <pc:docMk/>
          <pc:sldMk cId="971924174" sldId="581"/>
        </pc:sldMkLst>
        <pc:spChg chg="mod">
          <ac:chgData name="Tongtong Wang" userId="5026a17a-445d-4aa4-bcd4-da2975ecf913" providerId="ADAL" clId="{2E6CCF4E-53D5-45A2-8BC1-DD4410D02BCD}" dt="2022-07-07T11:42:52.962" v="1731" actId="20577"/>
          <ac:spMkLst>
            <pc:docMk/>
            <pc:sldMk cId="971924174" sldId="581"/>
            <ac:spMk id="7" creationId="{63991A79-2DF5-4987-8986-F8B6237BF2C9}"/>
          </ac:spMkLst>
        </pc:spChg>
        <pc:spChg chg="add mod">
          <ac:chgData name="Tongtong Wang" userId="5026a17a-445d-4aa4-bcd4-da2975ecf913" providerId="ADAL" clId="{2E6CCF4E-53D5-45A2-8BC1-DD4410D02BCD}" dt="2022-07-07T11:39:44.755" v="1730" actId="1076"/>
          <ac:spMkLst>
            <pc:docMk/>
            <pc:sldMk cId="971924174" sldId="581"/>
            <ac:spMk id="10" creationId="{BDE9D6E4-3217-4460-9C82-5AE3636DA4A4}"/>
          </ac:spMkLst>
        </pc:spChg>
        <pc:picChg chg="add mod">
          <ac:chgData name="Tongtong Wang" userId="5026a17a-445d-4aa4-bcd4-da2975ecf913" providerId="ADAL" clId="{2E6CCF4E-53D5-45A2-8BC1-DD4410D02BCD}" dt="2022-07-07T11:38:59.774" v="1669" actId="1076"/>
          <ac:picMkLst>
            <pc:docMk/>
            <pc:sldMk cId="971924174" sldId="581"/>
            <ac:picMk id="2" creationId="{1EB7FB56-66C8-4666-B64D-ED9A763D37FE}"/>
          </ac:picMkLst>
        </pc:picChg>
        <pc:picChg chg="del">
          <ac:chgData name="Tongtong Wang" userId="5026a17a-445d-4aa4-bcd4-da2975ecf913" providerId="ADAL" clId="{2E6CCF4E-53D5-45A2-8BC1-DD4410D02BCD}" dt="2022-07-06T13:47:18.336" v="1648" actId="478"/>
          <ac:picMkLst>
            <pc:docMk/>
            <pc:sldMk cId="971924174" sldId="581"/>
            <ac:picMk id="9" creationId="{80589BDE-126F-4384-82A4-A010DB68A120}"/>
          </ac:picMkLst>
        </pc:picChg>
      </pc:sldChg>
      <pc:sldChg chg="addSp delSp modSp add mod delAnim modAnim modNotesTx">
        <pc:chgData name="Tongtong Wang" userId="5026a17a-445d-4aa4-bcd4-da2975ecf913" providerId="ADAL" clId="{2E6CCF4E-53D5-45A2-8BC1-DD4410D02BCD}" dt="2022-07-12T10:35:21.478" v="3160" actId="404"/>
        <pc:sldMkLst>
          <pc:docMk/>
          <pc:sldMk cId="2919049393" sldId="582"/>
        </pc:sldMkLst>
        <pc:spChg chg="add del mod">
          <ac:chgData name="Tongtong Wang" userId="5026a17a-445d-4aa4-bcd4-da2975ecf913" providerId="ADAL" clId="{2E6CCF4E-53D5-45A2-8BC1-DD4410D02BCD}" dt="2022-07-12T10:23:46.379" v="2742" actId="478"/>
          <ac:spMkLst>
            <pc:docMk/>
            <pc:sldMk cId="2919049393" sldId="582"/>
            <ac:spMk id="4" creationId="{00567D3D-E4B5-40FE-87A0-D04FA08E115E}"/>
          </ac:spMkLst>
        </pc:spChg>
        <pc:spChg chg="mod">
          <ac:chgData name="Tongtong Wang" userId="5026a17a-445d-4aa4-bcd4-da2975ecf913" providerId="ADAL" clId="{2E6CCF4E-53D5-45A2-8BC1-DD4410D02BCD}" dt="2022-07-12T10:13:01.063" v="2723" actId="20577"/>
          <ac:spMkLst>
            <pc:docMk/>
            <pc:sldMk cId="2919049393" sldId="582"/>
            <ac:spMk id="7" creationId="{63991A79-2DF5-4987-8986-F8B6237BF2C9}"/>
          </ac:spMkLst>
        </pc:spChg>
        <pc:spChg chg="del">
          <ac:chgData name="Tongtong Wang" userId="5026a17a-445d-4aa4-bcd4-da2975ecf913" providerId="ADAL" clId="{2E6CCF4E-53D5-45A2-8BC1-DD4410D02BCD}" dt="2022-07-11T13:02:54.781" v="2120" actId="478"/>
          <ac:spMkLst>
            <pc:docMk/>
            <pc:sldMk cId="2919049393" sldId="582"/>
            <ac:spMk id="10" creationId="{BDE9D6E4-3217-4460-9C82-5AE3636DA4A4}"/>
          </ac:spMkLst>
        </pc:spChg>
        <pc:spChg chg="add mod">
          <ac:chgData name="Tongtong Wang" userId="5026a17a-445d-4aa4-bcd4-da2975ecf913" providerId="ADAL" clId="{2E6CCF4E-53D5-45A2-8BC1-DD4410D02BCD}" dt="2022-07-12T10:35:21.478" v="3160" actId="404"/>
          <ac:spMkLst>
            <pc:docMk/>
            <pc:sldMk cId="2919049393" sldId="582"/>
            <ac:spMk id="11" creationId="{4C6AF3D4-9E43-439A-8556-DF89949163FF}"/>
          </ac:spMkLst>
        </pc:spChg>
        <pc:spChg chg="del">
          <ac:chgData name="Tongtong Wang" userId="5026a17a-445d-4aa4-bcd4-da2975ecf913" providerId="ADAL" clId="{2E6CCF4E-53D5-45A2-8BC1-DD4410D02BCD}" dt="2022-07-12T10:23:42.308" v="2740" actId="478"/>
          <ac:spMkLst>
            <pc:docMk/>
            <pc:sldMk cId="2919049393" sldId="582"/>
            <ac:spMk id="45" creationId="{ABE05CC7-87A9-4E18-AEA7-3CFE48FBF726}"/>
          </ac:spMkLst>
        </pc:spChg>
        <pc:picChg chg="del">
          <ac:chgData name="Tongtong Wang" userId="5026a17a-445d-4aa4-bcd4-da2975ecf913" providerId="ADAL" clId="{2E6CCF4E-53D5-45A2-8BC1-DD4410D02BCD}" dt="2022-07-07T11:45:32.686" v="1733" actId="478"/>
          <ac:picMkLst>
            <pc:docMk/>
            <pc:sldMk cId="2919049393" sldId="582"/>
            <ac:picMk id="2" creationId="{1EB7FB56-66C8-4666-B64D-ED9A763D37FE}"/>
          </ac:picMkLst>
        </pc:picChg>
        <pc:picChg chg="add mod">
          <ac:chgData name="Tongtong Wang" userId="5026a17a-445d-4aa4-bcd4-da2975ecf913" providerId="ADAL" clId="{2E6CCF4E-53D5-45A2-8BC1-DD4410D02BCD}" dt="2022-07-12T10:23:25.931" v="2739" actId="1076"/>
          <ac:picMkLst>
            <pc:docMk/>
            <pc:sldMk cId="2919049393" sldId="582"/>
            <ac:picMk id="8" creationId="{E2B83993-242C-4989-BDA0-5C47FD377F49}"/>
          </ac:picMkLst>
        </pc:picChg>
      </pc:sldChg>
      <pc:sldChg chg="addSp delSp modSp new del mod delAnim modAnim">
        <pc:chgData name="Tongtong Wang" userId="5026a17a-445d-4aa4-bcd4-da2975ecf913" providerId="ADAL" clId="{2E6CCF4E-53D5-45A2-8BC1-DD4410D02BCD}" dt="2022-07-12T10:07:36.463" v="2667" actId="47"/>
        <pc:sldMkLst>
          <pc:docMk/>
          <pc:sldMk cId="643604648" sldId="583"/>
        </pc:sldMkLst>
        <pc:spChg chg="del">
          <ac:chgData name="Tongtong Wang" userId="5026a17a-445d-4aa4-bcd4-da2975ecf913" providerId="ADAL" clId="{2E6CCF4E-53D5-45A2-8BC1-DD4410D02BCD}" dt="2022-07-11T12:31:34.163" v="1756"/>
          <ac:spMkLst>
            <pc:docMk/>
            <pc:sldMk cId="643604648" sldId="583"/>
            <ac:spMk id="3" creationId="{E78373E0-ECE5-4C9B-813E-0D9671E0C7C5}"/>
          </ac:spMkLst>
        </pc:spChg>
        <pc:spChg chg="add mod">
          <ac:chgData name="Tongtong Wang" userId="5026a17a-445d-4aa4-bcd4-da2975ecf913" providerId="ADAL" clId="{2E6CCF4E-53D5-45A2-8BC1-DD4410D02BCD}" dt="2022-07-11T12:32:14.463" v="1792" actId="1076"/>
          <ac:spMkLst>
            <pc:docMk/>
            <pc:sldMk cId="643604648" sldId="583"/>
            <ac:spMk id="5" creationId="{FEC9499C-87CD-4500-AC77-699A4823EB65}"/>
          </ac:spMkLst>
        </pc:spChg>
        <pc:spChg chg="add mod">
          <ac:chgData name="Tongtong Wang" userId="5026a17a-445d-4aa4-bcd4-da2975ecf913" providerId="ADAL" clId="{2E6CCF4E-53D5-45A2-8BC1-DD4410D02BCD}" dt="2022-07-12T10:07:07.370" v="2659" actId="21"/>
          <ac:spMkLst>
            <pc:docMk/>
            <pc:sldMk cId="643604648" sldId="583"/>
            <ac:spMk id="6" creationId="{7A5FD0ED-5342-4ACE-BA99-631094EFCC9D}"/>
          </ac:spMkLst>
        </pc:spChg>
        <pc:picChg chg="add del mod">
          <ac:chgData name="Tongtong Wang" userId="5026a17a-445d-4aa4-bcd4-da2975ecf913" providerId="ADAL" clId="{2E6CCF4E-53D5-45A2-8BC1-DD4410D02BCD}" dt="2022-07-12T10:07:07.370" v="2659" actId="21"/>
          <ac:picMkLst>
            <pc:docMk/>
            <pc:sldMk cId="643604648" sldId="583"/>
            <ac:picMk id="4" creationId="{557CCBC9-10FF-4ADA-A200-CB723EF350F2}"/>
          </ac:picMkLst>
        </pc:picChg>
      </pc:sldChg>
      <pc:sldChg chg="addSp delSp modSp new del mod delAnim modAnim">
        <pc:chgData name="Tongtong Wang" userId="5026a17a-445d-4aa4-bcd4-da2975ecf913" providerId="ADAL" clId="{2E6CCF4E-53D5-45A2-8BC1-DD4410D02BCD}" dt="2022-07-12T10:08:09.859" v="2676" actId="47"/>
        <pc:sldMkLst>
          <pc:docMk/>
          <pc:sldMk cId="1868061193" sldId="584"/>
        </pc:sldMkLst>
        <pc:spChg chg="del">
          <ac:chgData name="Tongtong Wang" userId="5026a17a-445d-4aa4-bcd4-da2975ecf913" providerId="ADAL" clId="{2E6CCF4E-53D5-45A2-8BC1-DD4410D02BCD}" dt="2022-07-11T12:34:56.331" v="1794"/>
          <ac:spMkLst>
            <pc:docMk/>
            <pc:sldMk cId="1868061193" sldId="584"/>
            <ac:spMk id="3" creationId="{C31BEA09-4161-4F91-8881-3A76CC77ED32}"/>
          </ac:spMkLst>
        </pc:spChg>
        <pc:spChg chg="add mod">
          <ac:chgData name="Tongtong Wang" userId="5026a17a-445d-4aa4-bcd4-da2975ecf913" providerId="ADAL" clId="{2E6CCF4E-53D5-45A2-8BC1-DD4410D02BCD}" dt="2022-07-11T12:35:21.258" v="1826" actId="20577"/>
          <ac:spMkLst>
            <pc:docMk/>
            <pc:sldMk cId="1868061193" sldId="584"/>
            <ac:spMk id="5" creationId="{534BF950-043A-4BE9-B825-AD9C86C36A27}"/>
          </ac:spMkLst>
        </pc:spChg>
        <pc:spChg chg="add mod">
          <ac:chgData name="Tongtong Wang" userId="5026a17a-445d-4aa4-bcd4-da2975ecf913" providerId="ADAL" clId="{2E6CCF4E-53D5-45A2-8BC1-DD4410D02BCD}" dt="2022-07-12T10:07:42.219" v="2669" actId="21"/>
          <ac:spMkLst>
            <pc:docMk/>
            <pc:sldMk cId="1868061193" sldId="584"/>
            <ac:spMk id="6" creationId="{47353FEB-C39A-4A42-B30C-BA9A3B06D388}"/>
          </ac:spMkLst>
        </pc:spChg>
        <pc:picChg chg="add del mod">
          <ac:chgData name="Tongtong Wang" userId="5026a17a-445d-4aa4-bcd4-da2975ecf913" providerId="ADAL" clId="{2E6CCF4E-53D5-45A2-8BC1-DD4410D02BCD}" dt="2022-07-12T10:07:42.219" v="2669" actId="21"/>
          <ac:picMkLst>
            <pc:docMk/>
            <pc:sldMk cId="1868061193" sldId="584"/>
            <ac:picMk id="4" creationId="{21AD717F-DE1B-4ACB-913F-755A3BEFDD84}"/>
          </ac:picMkLst>
        </pc:picChg>
      </pc:sldChg>
      <pc:sldChg chg="new del">
        <pc:chgData name="Tongtong Wang" userId="5026a17a-445d-4aa4-bcd4-da2975ecf913" providerId="ADAL" clId="{2E6CCF4E-53D5-45A2-8BC1-DD4410D02BCD}" dt="2022-07-12T10:06:24.490" v="2644" actId="680"/>
        <pc:sldMkLst>
          <pc:docMk/>
          <pc:sldMk cId="2476017144" sldId="585"/>
        </pc:sldMkLst>
      </pc:sldChg>
      <pc:sldChg chg="delSp modSp add mod delAnim">
        <pc:chgData name="Tongtong Wang" userId="5026a17a-445d-4aa4-bcd4-da2975ecf913" providerId="ADAL" clId="{2E6CCF4E-53D5-45A2-8BC1-DD4410D02BCD}" dt="2022-07-12T10:35:44.524" v="3169" actId="255"/>
        <pc:sldMkLst>
          <pc:docMk/>
          <pc:sldMk cId="3172536548" sldId="585"/>
        </pc:sldMkLst>
        <pc:spChg chg="mod">
          <ac:chgData name="Tongtong Wang" userId="5026a17a-445d-4aa4-bcd4-da2975ecf913" providerId="ADAL" clId="{2E6CCF4E-53D5-45A2-8BC1-DD4410D02BCD}" dt="2022-07-12T10:08:25.870" v="2679" actId="20577"/>
          <ac:spMkLst>
            <pc:docMk/>
            <pc:sldMk cId="3172536548" sldId="585"/>
            <ac:spMk id="7" creationId="{63991A79-2DF5-4987-8986-F8B6237BF2C9}"/>
          </ac:spMkLst>
        </pc:spChg>
        <pc:spChg chg="mod">
          <ac:chgData name="Tongtong Wang" userId="5026a17a-445d-4aa4-bcd4-da2975ecf913" providerId="ADAL" clId="{2E6CCF4E-53D5-45A2-8BC1-DD4410D02BCD}" dt="2022-07-12T10:35:44.524" v="3169" actId="255"/>
          <ac:spMkLst>
            <pc:docMk/>
            <pc:sldMk cId="3172536548" sldId="585"/>
            <ac:spMk id="45" creationId="{ABE05CC7-87A9-4E18-AEA7-3CFE48FBF726}"/>
          </ac:spMkLst>
        </pc:spChg>
        <pc:picChg chg="mod">
          <ac:chgData name="Tongtong Wang" userId="5026a17a-445d-4aa4-bcd4-da2975ecf913" providerId="ADAL" clId="{2E6CCF4E-53D5-45A2-8BC1-DD4410D02BCD}" dt="2022-07-12T10:09:31.374" v="2685" actId="1076"/>
          <ac:picMkLst>
            <pc:docMk/>
            <pc:sldMk cId="3172536548" sldId="585"/>
            <ac:picMk id="3" creationId="{5EC236E6-7ED4-4A9E-8824-37724A27718F}"/>
          </ac:picMkLst>
        </pc:picChg>
        <pc:picChg chg="del">
          <ac:chgData name="Tongtong Wang" userId="5026a17a-445d-4aa4-bcd4-da2975ecf913" providerId="ADAL" clId="{2E6CCF4E-53D5-45A2-8BC1-DD4410D02BCD}" dt="2022-07-12T10:06:51.579" v="2654" actId="478"/>
          <ac:picMkLst>
            <pc:docMk/>
            <pc:sldMk cId="3172536548" sldId="585"/>
            <ac:picMk id="4" creationId="{6327F766-DEF8-4C94-B8FB-CED314481F46}"/>
          </ac:picMkLst>
        </pc:picChg>
        <pc:picChg chg="del">
          <ac:chgData name="Tongtong Wang" userId="5026a17a-445d-4aa4-bcd4-da2975ecf913" providerId="ADAL" clId="{2E6CCF4E-53D5-45A2-8BC1-DD4410D02BCD}" dt="2022-07-12T10:06:51.020" v="2653" actId="478"/>
          <ac:picMkLst>
            <pc:docMk/>
            <pc:sldMk cId="3172536548" sldId="585"/>
            <ac:picMk id="22530" creationId="{779619B4-FB01-4996-9B7D-EFAF80049EFC}"/>
          </ac:picMkLst>
        </pc:picChg>
      </pc:sldChg>
      <pc:sldChg chg="addSp delSp modSp add mod delAnim modAnim">
        <pc:chgData name="Tongtong Wang" userId="5026a17a-445d-4aa4-bcd4-da2975ecf913" providerId="ADAL" clId="{2E6CCF4E-53D5-45A2-8BC1-DD4410D02BCD}" dt="2022-07-12T10:35:47.374" v="3170" actId="255"/>
        <pc:sldMkLst>
          <pc:docMk/>
          <pc:sldMk cId="1979430211" sldId="586"/>
        </pc:sldMkLst>
        <pc:spChg chg="mod">
          <ac:chgData name="Tongtong Wang" userId="5026a17a-445d-4aa4-bcd4-da2975ecf913" providerId="ADAL" clId="{2E6CCF4E-53D5-45A2-8BC1-DD4410D02BCD}" dt="2022-07-12T10:07:21.796" v="2663" actId="20577"/>
          <ac:spMkLst>
            <pc:docMk/>
            <pc:sldMk cId="1979430211" sldId="586"/>
            <ac:spMk id="7" creationId="{63991A79-2DF5-4987-8986-F8B6237BF2C9}"/>
          </ac:spMkLst>
        </pc:spChg>
        <pc:spChg chg="add mod">
          <ac:chgData name="Tongtong Wang" userId="5026a17a-445d-4aa4-bcd4-da2975ecf913" providerId="ADAL" clId="{2E6CCF4E-53D5-45A2-8BC1-DD4410D02BCD}" dt="2022-07-12T10:07:33.068" v="2666" actId="1076"/>
          <ac:spMkLst>
            <pc:docMk/>
            <pc:sldMk cId="1979430211" sldId="586"/>
            <ac:spMk id="9" creationId="{8B1A1B4A-8CEA-40FA-8FB9-0BF23C69889E}"/>
          </ac:spMkLst>
        </pc:spChg>
        <pc:spChg chg="mod">
          <ac:chgData name="Tongtong Wang" userId="5026a17a-445d-4aa4-bcd4-da2975ecf913" providerId="ADAL" clId="{2E6CCF4E-53D5-45A2-8BC1-DD4410D02BCD}" dt="2022-07-12T10:35:47.374" v="3170" actId="255"/>
          <ac:spMkLst>
            <pc:docMk/>
            <pc:sldMk cId="1979430211" sldId="586"/>
            <ac:spMk id="45" creationId="{ABE05CC7-87A9-4E18-AEA7-3CFE48FBF726}"/>
          </ac:spMkLst>
        </pc:spChg>
        <pc:picChg chg="del">
          <ac:chgData name="Tongtong Wang" userId="5026a17a-445d-4aa4-bcd4-da2975ecf913" providerId="ADAL" clId="{2E6CCF4E-53D5-45A2-8BC1-DD4410D02BCD}" dt="2022-07-12T10:07:14.469" v="2660" actId="478"/>
          <ac:picMkLst>
            <pc:docMk/>
            <pc:sldMk cId="1979430211" sldId="586"/>
            <ac:picMk id="3" creationId="{5EC236E6-7ED4-4A9E-8824-37724A27718F}"/>
          </ac:picMkLst>
        </pc:picChg>
        <pc:picChg chg="add mod">
          <ac:chgData name="Tongtong Wang" userId="5026a17a-445d-4aa4-bcd4-da2975ecf913" providerId="ADAL" clId="{2E6CCF4E-53D5-45A2-8BC1-DD4410D02BCD}" dt="2022-07-12T10:09:28.599" v="2684" actId="1076"/>
          <ac:picMkLst>
            <pc:docMk/>
            <pc:sldMk cId="1979430211" sldId="586"/>
            <ac:picMk id="8" creationId="{782E286D-48F1-488F-90E9-1E0170F68AE1}"/>
          </ac:picMkLst>
        </pc:picChg>
      </pc:sldChg>
      <pc:sldChg chg="addSp delSp modSp add mod delAnim modAnim">
        <pc:chgData name="Tongtong Wang" userId="5026a17a-445d-4aa4-bcd4-da2975ecf913" providerId="ADAL" clId="{2E6CCF4E-53D5-45A2-8BC1-DD4410D02BCD}" dt="2022-07-12T10:35:50.251" v="3171" actId="255"/>
        <pc:sldMkLst>
          <pc:docMk/>
          <pc:sldMk cId="2250080179" sldId="587"/>
        </pc:sldMkLst>
        <pc:spChg chg="del">
          <ac:chgData name="Tongtong Wang" userId="5026a17a-445d-4aa4-bcd4-da2975ecf913" providerId="ADAL" clId="{2E6CCF4E-53D5-45A2-8BC1-DD4410D02BCD}" dt="2022-07-12T10:08:01.878" v="2673" actId="478"/>
          <ac:spMkLst>
            <pc:docMk/>
            <pc:sldMk cId="2250080179" sldId="587"/>
            <ac:spMk id="9" creationId="{8B1A1B4A-8CEA-40FA-8FB9-0BF23C69889E}"/>
          </ac:spMkLst>
        </pc:spChg>
        <pc:spChg chg="add mod">
          <ac:chgData name="Tongtong Wang" userId="5026a17a-445d-4aa4-bcd4-da2975ecf913" providerId="ADAL" clId="{2E6CCF4E-53D5-45A2-8BC1-DD4410D02BCD}" dt="2022-07-12T10:08:06.316" v="2675" actId="1076"/>
          <ac:spMkLst>
            <pc:docMk/>
            <pc:sldMk cId="2250080179" sldId="587"/>
            <ac:spMk id="11" creationId="{071F40DB-EE7C-4169-A97B-73FBB6D94C3F}"/>
          </ac:spMkLst>
        </pc:spChg>
        <pc:spChg chg="mod">
          <ac:chgData name="Tongtong Wang" userId="5026a17a-445d-4aa4-bcd4-da2975ecf913" providerId="ADAL" clId="{2E6CCF4E-53D5-45A2-8BC1-DD4410D02BCD}" dt="2022-07-12T10:35:50.251" v="3171" actId="255"/>
          <ac:spMkLst>
            <pc:docMk/>
            <pc:sldMk cId="2250080179" sldId="587"/>
            <ac:spMk id="45" creationId="{ABE05CC7-87A9-4E18-AEA7-3CFE48FBF726}"/>
          </ac:spMkLst>
        </pc:spChg>
        <pc:picChg chg="del">
          <ac:chgData name="Tongtong Wang" userId="5026a17a-445d-4aa4-bcd4-da2975ecf913" providerId="ADAL" clId="{2E6CCF4E-53D5-45A2-8BC1-DD4410D02BCD}" dt="2022-07-12T10:07:52.479" v="2670" actId="478"/>
          <ac:picMkLst>
            <pc:docMk/>
            <pc:sldMk cId="2250080179" sldId="587"/>
            <ac:picMk id="8" creationId="{782E286D-48F1-488F-90E9-1E0170F68AE1}"/>
          </ac:picMkLst>
        </pc:picChg>
        <pc:picChg chg="add mod">
          <ac:chgData name="Tongtong Wang" userId="5026a17a-445d-4aa4-bcd4-da2975ecf913" providerId="ADAL" clId="{2E6CCF4E-53D5-45A2-8BC1-DD4410D02BCD}" dt="2022-07-12T10:09:26.203" v="2683" actId="1076"/>
          <ac:picMkLst>
            <pc:docMk/>
            <pc:sldMk cId="2250080179" sldId="587"/>
            <ac:picMk id="10" creationId="{A4727755-90FE-4D9D-AA34-9AB6BFE67E3D}"/>
          </ac:picMkLst>
        </pc:picChg>
      </pc:sldChg>
      <pc:sldChg chg="delSp modSp add mod">
        <pc:chgData name="Tongtong Wang" userId="5026a17a-445d-4aa4-bcd4-da2975ecf913" providerId="ADAL" clId="{2E6CCF4E-53D5-45A2-8BC1-DD4410D02BCD}" dt="2022-07-12T10:35:02.433" v="3156" actId="403"/>
        <pc:sldMkLst>
          <pc:docMk/>
          <pc:sldMk cId="3628879022" sldId="588"/>
        </pc:sldMkLst>
        <pc:spChg chg="mod">
          <ac:chgData name="Tongtong Wang" userId="5026a17a-445d-4aa4-bcd4-da2975ecf913" providerId="ADAL" clId="{2E6CCF4E-53D5-45A2-8BC1-DD4410D02BCD}" dt="2022-07-12T10:33:53.913" v="3152" actId="20577"/>
          <ac:spMkLst>
            <pc:docMk/>
            <pc:sldMk cId="3628879022" sldId="588"/>
            <ac:spMk id="7" creationId="{63991A79-2DF5-4987-8986-F8B6237BF2C9}"/>
          </ac:spMkLst>
        </pc:spChg>
        <pc:spChg chg="mod">
          <ac:chgData name="Tongtong Wang" userId="5026a17a-445d-4aa4-bcd4-da2975ecf913" providerId="ADAL" clId="{2E6CCF4E-53D5-45A2-8BC1-DD4410D02BCD}" dt="2022-07-12T10:35:02.433" v="3156" actId="403"/>
          <ac:spMkLst>
            <pc:docMk/>
            <pc:sldMk cId="3628879022" sldId="588"/>
            <ac:spMk id="45" creationId="{ABE05CC7-87A9-4E18-AEA7-3CFE48FBF726}"/>
          </ac:spMkLst>
        </pc:spChg>
        <pc:grpChg chg="del">
          <ac:chgData name="Tongtong Wang" userId="5026a17a-445d-4aa4-bcd4-da2975ecf913" providerId="ADAL" clId="{2E6CCF4E-53D5-45A2-8BC1-DD4410D02BCD}" dt="2022-07-12T10:30:12.122" v="2763" actId="478"/>
          <ac:grpSpMkLst>
            <pc:docMk/>
            <pc:sldMk cId="3628879022" sldId="588"/>
            <ac:grpSpMk id="25" creationId="{8BFFBAAA-E47D-4942-9D4E-17B0DA5F7782}"/>
          </ac:grpSpMkLst>
        </pc:grpChg>
        <pc:picChg chg="mod">
          <ac:chgData name="Tongtong Wang" userId="5026a17a-445d-4aa4-bcd4-da2975ecf913" providerId="ADAL" clId="{2E6CCF4E-53D5-45A2-8BC1-DD4410D02BCD}" dt="2022-07-12T10:34:08.094" v="3153" actId="1076"/>
          <ac:picMkLst>
            <pc:docMk/>
            <pc:sldMk cId="3628879022" sldId="588"/>
            <ac:picMk id="24" creationId="{A471EE76-3593-4B3C-AC22-2FFE3A44882E}"/>
          </ac:picMkLst>
        </pc:picChg>
        <pc:cxnChg chg="del">
          <ac:chgData name="Tongtong Wang" userId="5026a17a-445d-4aa4-bcd4-da2975ecf913" providerId="ADAL" clId="{2E6CCF4E-53D5-45A2-8BC1-DD4410D02BCD}" dt="2022-07-12T10:30:12.122" v="2763" actId="478"/>
          <ac:cxnSpMkLst>
            <pc:docMk/>
            <pc:sldMk cId="3628879022" sldId="588"/>
            <ac:cxnSpMk id="64" creationId="{385CF43D-468C-4F4A-879D-2DB72BCDB722}"/>
          </ac:cxnSpMkLst>
        </pc:cxnChg>
      </pc:sldChg>
    </pc:docChg>
  </pc:docChgLst>
  <pc:docChgLst>
    <pc:chgData name="Lars Ivar" userId="da83bdda-499a-4427-8775-f375be339a54" providerId="ADAL" clId="{9A0F3B70-5B95-42C4-94C3-05567C69E257}"/>
    <pc:docChg chg="undo custSel addSld delSld modSld sldOrd">
      <pc:chgData name="Lars Ivar" userId="da83bdda-499a-4427-8775-f375be339a54" providerId="ADAL" clId="{9A0F3B70-5B95-42C4-94C3-05567C69E257}" dt="2021-03-18T16:50:42.417" v="9426" actId="20577"/>
      <pc:docMkLst>
        <pc:docMk/>
      </pc:docMkLst>
      <pc:sldChg chg="modNotesTx">
        <pc:chgData name="Lars Ivar" userId="da83bdda-499a-4427-8775-f375be339a54" providerId="ADAL" clId="{9A0F3B70-5B95-42C4-94C3-05567C69E257}" dt="2021-03-12T12:03:57.611" v="11"/>
        <pc:sldMkLst>
          <pc:docMk/>
          <pc:sldMk cId="3243102052" sldId="256"/>
        </pc:sldMkLst>
      </pc:sldChg>
      <pc:sldChg chg="addSp modSp mod ord">
        <pc:chgData name="Lars Ivar" userId="da83bdda-499a-4427-8775-f375be339a54" providerId="ADAL" clId="{9A0F3B70-5B95-42C4-94C3-05567C69E257}" dt="2021-03-17T20:47:32.609" v="7538" actId="404"/>
        <pc:sldMkLst>
          <pc:docMk/>
          <pc:sldMk cId="2173165416" sldId="491"/>
        </pc:sldMkLst>
        <pc:spChg chg="add mod">
          <ac:chgData name="Lars Ivar" userId="da83bdda-499a-4427-8775-f375be339a54" providerId="ADAL" clId="{9A0F3B70-5B95-42C4-94C3-05567C69E257}" dt="2021-03-17T20:47:32.609" v="7538" actId="404"/>
          <ac:spMkLst>
            <pc:docMk/>
            <pc:sldMk cId="2173165416" sldId="491"/>
            <ac:spMk id="25" creationId="{FB6D23EF-1E52-49E5-A083-43AC3539B94A}"/>
          </ac:spMkLst>
        </pc:spChg>
        <pc:spChg chg="mod">
          <ac:chgData name="Lars Ivar" userId="da83bdda-499a-4427-8775-f375be339a54" providerId="ADAL" clId="{9A0F3B70-5B95-42C4-94C3-05567C69E257}" dt="2021-03-12T12:21:05.759" v="676" actId="20577"/>
          <ac:spMkLst>
            <pc:docMk/>
            <pc:sldMk cId="2173165416" sldId="491"/>
            <ac:spMk id="26" creationId="{F7012B31-D035-4588-A480-DACDA83B843C}"/>
          </ac:spMkLst>
        </pc:spChg>
        <pc:spChg chg="mod">
          <ac:chgData name="Lars Ivar" userId="da83bdda-499a-4427-8775-f375be339a54" providerId="ADAL" clId="{9A0F3B70-5B95-42C4-94C3-05567C69E257}" dt="2021-03-15T11:39:47.568" v="4483" actId="207"/>
          <ac:spMkLst>
            <pc:docMk/>
            <pc:sldMk cId="2173165416" sldId="491"/>
            <ac:spMk id="52" creationId="{089D8258-6B25-464E-A3AB-E115E19DF128}"/>
          </ac:spMkLst>
        </pc:spChg>
        <pc:spChg chg="mod">
          <ac:chgData name="Lars Ivar" userId="da83bdda-499a-4427-8775-f375be339a54" providerId="ADAL" clId="{9A0F3B70-5B95-42C4-94C3-05567C69E257}" dt="2021-03-15T11:39:43.761" v="4482" actId="207"/>
          <ac:spMkLst>
            <pc:docMk/>
            <pc:sldMk cId="2173165416" sldId="491"/>
            <ac:spMk id="53" creationId="{5331A72B-FD13-488F-83C9-2CE34F502D03}"/>
          </ac:spMkLst>
        </pc:spChg>
      </pc:sldChg>
      <pc:sldChg chg="modSp mod">
        <pc:chgData name="Lars Ivar" userId="da83bdda-499a-4427-8775-f375be339a54" providerId="ADAL" clId="{9A0F3B70-5B95-42C4-94C3-05567C69E257}" dt="2021-03-12T12:04:44.886" v="14" actId="404"/>
        <pc:sldMkLst>
          <pc:docMk/>
          <pc:sldMk cId="2612816495" sldId="500"/>
        </pc:sldMkLst>
        <pc:spChg chg="mod">
          <ac:chgData name="Lars Ivar" userId="da83bdda-499a-4427-8775-f375be339a54" providerId="ADAL" clId="{9A0F3B70-5B95-42C4-94C3-05567C69E257}" dt="2021-03-12T12:04:44.886" v="14" actId="404"/>
          <ac:spMkLst>
            <pc:docMk/>
            <pc:sldMk cId="2612816495" sldId="500"/>
            <ac:spMk id="7" creationId="{63991A79-2DF5-4987-8986-F8B6237BF2C9}"/>
          </ac:spMkLst>
        </pc:spChg>
      </pc:sldChg>
      <pc:sldChg chg="addSp delSp modSp mod ord modNotesTx">
        <pc:chgData name="Lars Ivar" userId="da83bdda-499a-4427-8775-f375be339a54" providerId="ADAL" clId="{9A0F3B70-5B95-42C4-94C3-05567C69E257}" dt="2021-03-15T12:58:45.495" v="6700" actId="20577"/>
        <pc:sldMkLst>
          <pc:docMk/>
          <pc:sldMk cId="3664475662" sldId="501"/>
        </pc:sldMkLst>
        <pc:spChg chg="del mod">
          <ac:chgData name="Lars Ivar" userId="da83bdda-499a-4427-8775-f375be339a54" providerId="ADAL" clId="{9A0F3B70-5B95-42C4-94C3-05567C69E257}" dt="2021-03-15T10:25:38.604" v="3020" actId="478"/>
          <ac:spMkLst>
            <pc:docMk/>
            <pc:sldMk cId="3664475662" sldId="501"/>
            <ac:spMk id="3" creationId="{FBFA873D-0EAC-4D07-996B-B429A793C066}"/>
          </ac:spMkLst>
        </pc:spChg>
        <pc:spChg chg="del mod">
          <ac:chgData name="Lars Ivar" userId="da83bdda-499a-4427-8775-f375be339a54" providerId="ADAL" clId="{9A0F3B70-5B95-42C4-94C3-05567C69E257}" dt="2021-03-15T10:25:48.352" v="3030"/>
          <ac:spMkLst>
            <pc:docMk/>
            <pc:sldMk cId="3664475662" sldId="501"/>
            <ac:spMk id="5" creationId="{576249E6-FCC1-4611-8A08-3DFA173A9B38}"/>
          </ac:spMkLst>
        </pc:spChg>
        <pc:spChg chg="mod">
          <ac:chgData name="Lars Ivar" userId="da83bdda-499a-4427-8775-f375be339a54" providerId="ADAL" clId="{9A0F3B70-5B95-42C4-94C3-05567C69E257}" dt="2021-03-15T10:31:17.394" v="3396" actId="207"/>
          <ac:spMkLst>
            <pc:docMk/>
            <pc:sldMk cId="3664475662" sldId="501"/>
            <ac:spMk id="7" creationId="{63991A79-2DF5-4987-8986-F8B6237BF2C9}"/>
          </ac:spMkLst>
        </pc:spChg>
        <pc:spChg chg="del mod">
          <ac:chgData name="Lars Ivar" userId="da83bdda-499a-4427-8775-f375be339a54" providerId="ADAL" clId="{9A0F3B70-5B95-42C4-94C3-05567C69E257}" dt="2021-03-15T10:25:52.378" v="3034" actId="478"/>
          <ac:spMkLst>
            <pc:docMk/>
            <pc:sldMk cId="3664475662" sldId="501"/>
            <ac:spMk id="26" creationId="{C08E6AB1-06B1-47A7-8691-A206BD476562}"/>
          </ac:spMkLst>
        </pc:spChg>
        <pc:spChg chg="del mod">
          <ac:chgData name="Lars Ivar" userId="da83bdda-499a-4427-8775-f375be339a54" providerId="ADAL" clId="{9A0F3B70-5B95-42C4-94C3-05567C69E257}" dt="2021-03-15T10:25:48.351" v="3028" actId="478"/>
          <ac:spMkLst>
            <pc:docMk/>
            <pc:sldMk cId="3664475662" sldId="501"/>
            <ac:spMk id="27" creationId="{BE99AE81-1325-46E4-8A50-0C5604E92AD1}"/>
          </ac:spMkLst>
        </pc:spChg>
        <pc:spChg chg="del mod">
          <ac:chgData name="Lars Ivar" userId="da83bdda-499a-4427-8775-f375be339a54" providerId="ADAL" clId="{9A0F3B70-5B95-42C4-94C3-05567C69E257}" dt="2021-03-15T10:25:44.224" v="3024" actId="478"/>
          <ac:spMkLst>
            <pc:docMk/>
            <pc:sldMk cId="3664475662" sldId="501"/>
            <ac:spMk id="28" creationId="{A4711B5E-7769-444A-BBD2-BB223E67B516}"/>
          </ac:spMkLst>
        </pc:spChg>
        <pc:spChg chg="del mod">
          <ac:chgData name="Lars Ivar" userId="da83bdda-499a-4427-8775-f375be339a54" providerId="ADAL" clId="{9A0F3B70-5B95-42C4-94C3-05567C69E257}" dt="2021-03-15T10:25:40.639" v="3022" actId="478"/>
          <ac:spMkLst>
            <pc:docMk/>
            <pc:sldMk cId="3664475662" sldId="501"/>
            <ac:spMk id="29" creationId="{DE795856-299F-406F-8AAC-C77F5C21E708}"/>
          </ac:spMkLst>
        </pc:spChg>
        <pc:spChg chg="del mod">
          <ac:chgData name="Lars Ivar" userId="da83bdda-499a-4427-8775-f375be339a54" providerId="ADAL" clId="{9A0F3B70-5B95-42C4-94C3-05567C69E257}" dt="2021-03-15T10:25:51.173" v="3033" actId="478"/>
          <ac:spMkLst>
            <pc:docMk/>
            <pc:sldMk cId="3664475662" sldId="501"/>
            <ac:spMk id="30" creationId="{1277E13B-FE8F-40C6-918E-2B0985BFD9E4}"/>
          </ac:spMkLst>
        </pc:spChg>
        <pc:spChg chg="del mod">
          <ac:chgData name="Lars Ivar" userId="da83bdda-499a-4427-8775-f375be339a54" providerId="ADAL" clId="{9A0F3B70-5B95-42C4-94C3-05567C69E257}" dt="2021-03-15T10:25:49.887" v="3032" actId="478"/>
          <ac:spMkLst>
            <pc:docMk/>
            <pc:sldMk cId="3664475662" sldId="501"/>
            <ac:spMk id="31" creationId="{B03F4627-69B5-4096-B8EE-C6AA06759AB5}"/>
          </ac:spMkLst>
        </pc:spChg>
        <pc:spChg chg="mod">
          <ac:chgData name="Lars Ivar" userId="da83bdda-499a-4427-8775-f375be339a54" providerId="ADAL" clId="{9A0F3B70-5B95-42C4-94C3-05567C69E257}" dt="2021-03-15T12:11:51.305" v="6266" actId="790"/>
          <ac:spMkLst>
            <pc:docMk/>
            <pc:sldMk cId="3664475662" sldId="501"/>
            <ac:spMk id="45" creationId="{ABE05CC7-87A9-4E18-AEA7-3CFE48FBF726}"/>
          </ac:spMkLst>
        </pc:spChg>
        <pc:spChg chg="mod">
          <ac:chgData name="Lars Ivar" userId="da83bdda-499a-4427-8775-f375be339a54" providerId="ADAL" clId="{9A0F3B70-5B95-42C4-94C3-05567C69E257}" dt="2021-03-15T09:56:25.753" v="2723"/>
          <ac:spMkLst>
            <pc:docMk/>
            <pc:sldMk cId="3664475662" sldId="501"/>
            <ac:spMk id="56" creationId="{C5EF4349-E1BF-4576-950B-92000F0A900F}"/>
          </ac:spMkLst>
        </pc:spChg>
        <pc:spChg chg="mod">
          <ac:chgData name="Lars Ivar" userId="da83bdda-499a-4427-8775-f375be339a54" providerId="ADAL" clId="{9A0F3B70-5B95-42C4-94C3-05567C69E257}" dt="2021-03-15T09:56:25.753" v="2723"/>
          <ac:spMkLst>
            <pc:docMk/>
            <pc:sldMk cId="3664475662" sldId="501"/>
            <ac:spMk id="57" creationId="{8F546AF1-5953-4D62-8105-DFF900FDE206}"/>
          </ac:spMkLst>
        </pc:spChg>
        <pc:spChg chg="mod">
          <ac:chgData name="Lars Ivar" userId="da83bdda-499a-4427-8775-f375be339a54" providerId="ADAL" clId="{9A0F3B70-5B95-42C4-94C3-05567C69E257}" dt="2021-03-15T09:56:25.753" v="2723"/>
          <ac:spMkLst>
            <pc:docMk/>
            <pc:sldMk cId="3664475662" sldId="501"/>
            <ac:spMk id="58" creationId="{5AA81C17-C2E2-4AFD-AC3F-EF18A8A9FD16}"/>
          </ac:spMkLst>
        </pc:spChg>
        <pc:spChg chg="mod">
          <ac:chgData name="Lars Ivar" userId="da83bdda-499a-4427-8775-f375be339a54" providerId="ADAL" clId="{9A0F3B70-5B95-42C4-94C3-05567C69E257}" dt="2021-03-15T09:56:25.753" v="2723"/>
          <ac:spMkLst>
            <pc:docMk/>
            <pc:sldMk cId="3664475662" sldId="501"/>
            <ac:spMk id="59" creationId="{96D6D6D5-0FE8-4CE7-856C-2256C2BEDA41}"/>
          </ac:spMkLst>
        </pc:spChg>
        <pc:spChg chg="mod">
          <ac:chgData name="Lars Ivar" userId="da83bdda-499a-4427-8775-f375be339a54" providerId="ADAL" clId="{9A0F3B70-5B95-42C4-94C3-05567C69E257}" dt="2021-03-15T09:56:25.753" v="2723"/>
          <ac:spMkLst>
            <pc:docMk/>
            <pc:sldMk cId="3664475662" sldId="501"/>
            <ac:spMk id="60" creationId="{87AD97D4-510E-4D2F-A1B9-B27E5C5B232E}"/>
          </ac:spMkLst>
        </pc:spChg>
        <pc:spChg chg="mod">
          <ac:chgData name="Lars Ivar" userId="da83bdda-499a-4427-8775-f375be339a54" providerId="ADAL" clId="{9A0F3B70-5B95-42C4-94C3-05567C69E257}" dt="2021-03-15T09:56:25.753" v="2723"/>
          <ac:spMkLst>
            <pc:docMk/>
            <pc:sldMk cId="3664475662" sldId="501"/>
            <ac:spMk id="61" creationId="{F272A0A9-1412-47D7-A8A4-41787ED119F2}"/>
          </ac:spMkLst>
        </pc:spChg>
        <pc:spChg chg="mod">
          <ac:chgData name="Lars Ivar" userId="da83bdda-499a-4427-8775-f375be339a54" providerId="ADAL" clId="{9A0F3B70-5B95-42C4-94C3-05567C69E257}" dt="2021-03-15T09:58:08.172" v="2741" actId="207"/>
          <ac:spMkLst>
            <pc:docMk/>
            <pc:sldMk cId="3664475662" sldId="501"/>
            <ac:spMk id="62" creationId="{3F71E3D5-83D6-4B04-983E-4FBDA7480F8E}"/>
          </ac:spMkLst>
        </pc:spChg>
        <pc:spChg chg="mod">
          <ac:chgData name="Lars Ivar" userId="da83bdda-499a-4427-8775-f375be339a54" providerId="ADAL" clId="{9A0F3B70-5B95-42C4-94C3-05567C69E257}" dt="2021-03-15T09:58:03.852" v="2740" actId="207"/>
          <ac:spMkLst>
            <pc:docMk/>
            <pc:sldMk cId="3664475662" sldId="501"/>
            <ac:spMk id="63" creationId="{6E08FD03-0410-4EA6-BDBC-28803D72DD24}"/>
          </ac:spMkLst>
        </pc:spChg>
        <pc:spChg chg="mod">
          <ac:chgData name="Lars Ivar" userId="da83bdda-499a-4427-8775-f375be339a54" providerId="ADAL" clId="{9A0F3B70-5B95-42C4-94C3-05567C69E257}" dt="2021-03-15T09:56:25.753" v="2723"/>
          <ac:spMkLst>
            <pc:docMk/>
            <pc:sldMk cId="3664475662" sldId="501"/>
            <ac:spMk id="65" creationId="{32191581-52AB-4FB9-BEB2-BC3B5173E9C8}"/>
          </ac:spMkLst>
        </pc:spChg>
        <pc:spChg chg="mod">
          <ac:chgData name="Lars Ivar" userId="da83bdda-499a-4427-8775-f375be339a54" providerId="ADAL" clId="{9A0F3B70-5B95-42C4-94C3-05567C69E257}" dt="2021-03-15T09:56:25.753" v="2723"/>
          <ac:spMkLst>
            <pc:docMk/>
            <pc:sldMk cId="3664475662" sldId="501"/>
            <ac:spMk id="66" creationId="{4186AC2A-A54C-4C92-98F8-D6F373021F85}"/>
          </ac:spMkLst>
        </pc:spChg>
        <pc:spChg chg="mod">
          <ac:chgData name="Lars Ivar" userId="da83bdda-499a-4427-8775-f375be339a54" providerId="ADAL" clId="{9A0F3B70-5B95-42C4-94C3-05567C69E257}" dt="2021-03-15T12:12:05.146" v="6268"/>
          <ac:spMkLst>
            <pc:docMk/>
            <pc:sldMk cId="3664475662" sldId="501"/>
            <ac:spMk id="73" creationId="{E4557378-D101-4A48-AB99-D686911EDEC1}"/>
          </ac:spMkLst>
        </pc:spChg>
        <pc:spChg chg="mod">
          <ac:chgData name="Lars Ivar" userId="da83bdda-499a-4427-8775-f375be339a54" providerId="ADAL" clId="{9A0F3B70-5B95-42C4-94C3-05567C69E257}" dt="2021-03-15T12:12:05.146" v="6268"/>
          <ac:spMkLst>
            <pc:docMk/>
            <pc:sldMk cId="3664475662" sldId="501"/>
            <ac:spMk id="74" creationId="{EF344672-FEFC-4A65-A007-7FF56612ABEC}"/>
          </ac:spMkLst>
        </pc:spChg>
        <pc:spChg chg="mod">
          <ac:chgData name="Lars Ivar" userId="da83bdda-499a-4427-8775-f375be339a54" providerId="ADAL" clId="{9A0F3B70-5B95-42C4-94C3-05567C69E257}" dt="2021-03-15T12:12:05.146" v="6268"/>
          <ac:spMkLst>
            <pc:docMk/>
            <pc:sldMk cId="3664475662" sldId="501"/>
            <ac:spMk id="75" creationId="{C4326DC1-C362-4828-8ABC-32A0E8F26E01}"/>
          </ac:spMkLst>
        </pc:spChg>
        <pc:spChg chg="mod">
          <ac:chgData name="Lars Ivar" userId="da83bdda-499a-4427-8775-f375be339a54" providerId="ADAL" clId="{9A0F3B70-5B95-42C4-94C3-05567C69E257}" dt="2021-03-15T12:12:05.146" v="6268"/>
          <ac:spMkLst>
            <pc:docMk/>
            <pc:sldMk cId="3664475662" sldId="501"/>
            <ac:spMk id="76" creationId="{A927EAEE-41B2-40CD-BA54-0132CCB6E12F}"/>
          </ac:spMkLst>
        </pc:spChg>
        <pc:spChg chg="mod">
          <ac:chgData name="Lars Ivar" userId="da83bdda-499a-4427-8775-f375be339a54" providerId="ADAL" clId="{9A0F3B70-5B95-42C4-94C3-05567C69E257}" dt="2021-03-15T12:12:05.146" v="6268"/>
          <ac:spMkLst>
            <pc:docMk/>
            <pc:sldMk cId="3664475662" sldId="501"/>
            <ac:spMk id="77" creationId="{8B5E3B16-318B-4C69-86FF-EA95C73B2004}"/>
          </ac:spMkLst>
        </pc:spChg>
        <pc:spChg chg="mod">
          <ac:chgData name="Lars Ivar" userId="da83bdda-499a-4427-8775-f375be339a54" providerId="ADAL" clId="{9A0F3B70-5B95-42C4-94C3-05567C69E257}" dt="2021-03-15T12:12:05.146" v="6268"/>
          <ac:spMkLst>
            <pc:docMk/>
            <pc:sldMk cId="3664475662" sldId="501"/>
            <ac:spMk id="78" creationId="{D5A9808C-645A-4B90-B7BA-138FEA9EA428}"/>
          </ac:spMkLst>
        </pc:spChg>
        <pc:spChg chg="mod">
          <ac:chgData name="Lars Ivar" userId="da83bdda-499a-4427-8775-f375be339a54" providerId="ADAL" clId="{9A0F3B70-5B95-42C4-94C3-05567C69E257}" dt="2021-03-15T12:12:05.146" v="6268"/>
          <ac:spMkLst>
            <pc:docMk/>
            <pc:sldMk cId="3664475662" sldId="501"/>
            <ac:spMk id="79" creationId="{775F8688-8C48-425C-B38B-DC8241CA5D63}"/>
          </ac:spMkLst>
        </pc:spChg>
        <pc:spChg chg="mod">
          <ac:chgData name="Lars Ivar" userId="da83bdda-499a-4427-8775-f375be339a54" providerId="ADAL" clId="{9A0F3B70-5B95-42C4-94C3-05567C69E257}" dt="2021-03-15T12:12:05.146" v="6268"/>
          <ac:spMkLst>
            <pc:docMk/>
            <pc:sldMk cId="3664475662" sldId="501"/>
            <ac:spMk id="80" creationId="{E48081F7-FE0E-4B25-B443-65B1C4DB02D7}"/>
          </ac:spMkLst>
        </pc:spChg>
        <pc:spChg chg="mod">
          <ac:chgData name="Lars Ivar" userId="da83bdda-499a-4427-8775-f375be339a54" providerId="ADAL" clId="{9A0F3B70-5B95-42C4-94C3-05567C69E257}" dt="2021-03-15T12:12:05.146" v="6268"/>
          <ac:spMkLst>
            <pc:docMk/>
            <pc:sldMk cId="3664475662" sldId="501"/>
            <ac:spMk id="81" creationId="{54D9CD9B-E6A0-42EB-B4ED-8B21B562D16F}"/>
          </ac:spMkLst>
        </pc:spChg>
        <pc:spChg chg="mod">
          <ac:chgData name="Lars Ivar" userId="da83bdda-499a-4427-8775-f375be339a54" providerId="ADAL" clId="{9A0F3B70-5B95-42C4-94C3-05567C69E257}" dt="2021-03-15T12:12:05.146" v="6268"/>
          <ac:spMkLst>
            <pc:docMk/>
            <pc:sldMk cId="3664475662" sldId="501"/>
            <ac:spMk id="82" creationId="{D4400C01-6061-4A55-9FA9-24352F6C61F9}"/>
          </ac:spMkLst>
        </pc:spChg>
        <pc:grpChg chg="del">
          <ac:chgData name="Lars Ivar" userId="da83bdda-499a-4427-8775-f375be339a54" providerId="ADAL" clId="{9A0F3B70-5B95-42C4-94C3-05567C69E257}" dt="2021-03-15T09:56:24.757" v="2722" actId="478"/>
          <ac:grpSpMkLst>
            <pc:docMk/>
            <pc:sldMk cId="3664475662" sldId="501"/>
            <ac:grpSpMk id="2" creationId="{FB0E3E3F-4D6E-4365-B8D1-477E1C1440EC}"/>
          </ac:grpSpMkLst>
        </pc:grpChg>
        <pc:grpChg chg="add del mod">
          <ac:chgData name="Lars Ivar" userId="da83bdda-499a-4427-8775-f375be339a54" providerId="ADAL" clId="{9A0F3B70-5B95-42C4-94C3-05567C69E257}" dt="2021-03-15T12:12:04.881" v="6267" actId="478"/>
          <ac:grpSpMkLst>
            <pc:docMk/>
            <pc:sldMk cId="3664475662" sldId="501"/>
            <ac:grpSpMk id="32" creationId="{FC110C0C-C503-4378-A2A7-FF5180A5F052}"/>
          </ac:grpSpMkLst>
        </pc:grpChg>
        <pc:grpChg chg="mod">
          <ac:chgData name="Lars Ivar" userId="da83bdda-499a-4427-8775-f375be339a54" providerId="ADAL" clId="{9A0F3B70-5B95-42C4-94C3-05567C69E257}" dt="2021-03-15T09:56:25.753" v="2723"/>
          <ac:grpSpMkLst>
            <pc:docMk/>
            <pc:sldMk cId="3664475662" sldId="501"/>
            <ac:grpSpMk id="33" creationId="{7D339806-BB44-4DA9-BC2A-E258445AAC29}"/>
          </ac:grpSpMkLst>
        </pc:grpChg>
        <pc:grpChg chg="mod">
          <ac:chgData name="Lars Ivar" userId="da83bdda-499a-4427-8775-f375be339a54" providerId="ADAL" clId="{9A0F3B70-5B95-42C4-94C3-05567C69E257}" dt="2021-03-15T09:56:25.753" v="2723"/>
          <ac:grpSpMkLst>
            <pc:docMk/>
            <pc:sldMk cId="3664475662" sldId="501"/>
            <ac:grpSpMk id="34" creationId="{89EBD592-9303-4F64-86B2-B8EDE556D1D1}"/>
          </ac:grpSpMkLst>
        </pc:grpChg>
        <pc:grpChg chg="mod">
          <ac:chgData name="Lars Ivar" userId="da83bdda-499a-4427-8775-f375be339a54" providerId="ADAL" clId="{9A0F3B70-5B95-42C4-94C3-05567C69E257}" dt="2021-03-15T09:56:25.753" v="2723"/>
          <ac:grpSpMkLst>
            <pc:docMk/>
            <pc:sldMk cId="3664475662" sldId="501"/>
            <ac:grpSpMk id="53" creationId="{7329B510-8F5F-474B-BC63-DB19C2CED3BD}"/>
          </ac:grpSpMkLst>
        </pc:grpChg>
        <pc:grpChg chg="mod">
          <ac:chgData name="Lars Ivar" userId="da83bdda-499a-4427-8775-f375be339a54" providerId="ADAL" clId="{9A0F3B70-5B95-42C4-94C3-05567C69E257}" dt="2021-03-15T09:56:25.753" v="2723"/>
          <ac:grpSpMkLst>
            <pc:docMk/>
            <pc:sldMk cId="3664475662" sldId="501"/>
            <ac:grpSpMk id="54" creationId="{4ECF2011-9FDA-4C51-9AED-4043A4CF86D5}"/>
          </ac:grpSpMkLst>
        </pc:grpChg>
        <pc:grpChg chg="mod">
          <ac:chgData name="Lars Ivar" userId="da83bdda-499a-4427-8775-f375be339a54" providerId="ADAL" clId="{9A0F3B70-5B95-42C4-94C3-05567C69E257}" dt="2021-03-15T09:56:25.753" v="2723"/>
          <ac:grpSpMkLst>
            <pc:docMk/>
            <pc:sldMk cId="3664475662" sldId="501"/>
            <ac:grpSpMk id="55" creationId="{DEBB4022-6F95-453B-934D-3462D207F105}"/>
          </ac:grpSpMkLst>
        </pc:grpChg>
        <pc:grpChg chg="add mod">
          <ac:chgData name="Lars Ivar" userId="da83bdda-499a-4427-8775-f375be339a54" providerId="ADAL" clId="{9A0F3B70-5B95-42C4-94C3-05567C69E257}" dt="2021-03-15T12:12:05.146" v="6268"/>
          <ac:grpSpMkLst>
            <pc:docMk/>
            <pc:sldMk cId="3664475662" sldId="501"/>
            <ac:grpSpMk id="67" creationId="{1B44D0C0-55AA-4E10-8606-47DE89D7B1DB}"/>
          </ac:grpSpMkLst>
        </pc:grpChg>
        <pc:grpChg chg="mod">
          <ac:chgData name="Lars Ivar" userId="da83bdda-499a-4427-8775-f375be339a54" providerId="ADAL" clId="{9A0F3B70-5B95-42C4-94C3-05567C69E257}" dt="2021-03-15T12:12:05.146" v="6268"/>
          <ac:grpSpMkLst>
            <pc:docMk/>
            <pc:sldMk cId="3664475662" sldId="501"/>
            <ac:grpSpMk id="68" creationId="{0B8BD6DD-B528-4A23-85C1-0C5402B46349}"/>
          </ac:grpSpMkLst>
        </pc:grpChg>
        <pc:grpChg chg="mod">
          <ac:chgData name="Lars Ivar" userId="da83bdda-499a-4427-8775-f375be339a54" providerId="ADAL" clId="{9A0F3B70-5B95-42C4-94C3-05567C69E257}" dt="2021-03-15T12:12:05.146" v="6268"/>
          <ac:grpSpMkLst>
            <pc:docMk/>
            <pc:sldMk cId="3664475662" sldId="501"/>
            <ac:grpSpMk id="69" creationId="{4D0B01B6-81E8-426E-9FC7-61696F181BDF}"/>
          </ac:grpSpMkLst>
        </pc:grpChg>
        <pc:grpChg chg="mod">
          <ac:chgData name="Lars Ivar" userId="da83bdda-499a-4427-8775-f375be339a54" providerId="ADAL" clId="{9A0F3B70-5B95-42C4-94C3-05567C69E257}" dt="2021-03-15T12:12:05.146" v="6268"/>
          <ac:grpSpMkLst>
            <pc:docMk/>
            <pc:sldMk cId="3664475662" sldId="501"/>
            <ac:grpSpMk id="70" creationId="{F7998CAC-58AD-4FFF-AC70-246EFA9CEB50}"/>
          </ac:grpSpMkLst>
        </pc:grpChg>
        <pc:grpChg chg="mod">
          <ac:chgData name="Lars Ivar" userId="da83bdda-499a-4427-8775-f375be339a54" providerId="ADAL" clId="{9A0F3B70-5B95-42C4-94C3-05567C69E257}" dt="2021-03-15T12:12:05.146" v="6268"/>
          <ac:grpSpMkLst>
            <pc:docMk/>
            <pc:sldMk cId="3664475662" sldId="501"/>
            <ac:grpSpMk id="71" creationId="{2048D5CD-50FA-4E8D-AB32-930F6D880019}"/>
          </ac:grpSpMkLst>
        </pc:grpChg>
        <pc:grpChg chg="mod">
          <ac:chgData name="Lars Ivar" userId="da83bdda-499a-4427-8775-f375be339a54" providerId="ADAL" clId="{9A0F3B70-5B95-42C4-94C3-05567C69E257}" dt="2021-03-15T12:12:05.146" v="6268"/>
          <ac:grpSpMkLst>
            <pc:docMk/>
            <pc:sldMk cId="3664475662" sldId="501"/>
            <ac:grpSpMk id="72" creationId="{27BDA69F-9F4B-41B0-BCFD-6A7821B22DC8}"/>
          </ac:grpSpMkLst>
        </pc:grpChg>
        <pc:picChg chg="del">
          <ac:chgData name="Lars Ivar" userId="da83bdda-499a-4427-8775-f375be339a54" providerId="ADAL" clId="{9A0F3B70-5B95-42C4-94C3-05567C69E257}" dt="2021-03-15T10:25:53.016" v="3035" actId="478"/>
          <ac:picMkLst>
            <pc:docMk/>
            <pc:sldMk cId="3664475662" sldId="501"/>
            <ac:picMk id="4" creationId="{06E4D40C-FEB0-4FFF-BAB3-E481C96DBF5C}"/>
          </ac:picMkLst>
        </pc:picChg>
      </pc:sldChg>
      <pc:sldChg chg="modSp mod">
        <pc:chgData name="Lars Ivar" userId="da83bdda-499a-4427-8775-f375be339a54" providerId="ADAL" clId="{9A0F3B70-5B95-42C4-94C3-05567C69E257}" dt="2021-03-17T20:25:27.503" v="6953" actId="20577"/>
        <pc:sldMkLst>
          <pc:docMk/>
          <pc:sldMk cId="654040728" sldId="502"/>
        </pc:sldMkLst>
        <pc:spChg chg="mod">
          <ac:chgData name="Lars Ivar" userId="da83bdda-499a-4427-8775-f375be339a54" providerId="ADAL" clId="{9A0F3B70-5B95-42C4-94C3-05567C69E257}" dt="2021-03-15T10:52:25.505" v="3788" actId="403"/>
          <ac:spMkLst>
            <pc:docMk/>
            <pc:sldMk cId="654040728" sldId="502"/>
            <ac:spMk id="21" creationId="{52CF71B7-A19E-4AEC-ABB6-CC3C57332298}"/>
          </ac:spMkLst>
        </pc:spChg>
        <pc:spChg chg="mod">
          <ac:chgData name="Lars Ivar" userId="da83bdda-499a-4427-8775-f375be339a54" providerId="ADAL" clId="{9A0F3B70-5B95-42C4-94C3-05567C69E257}" dt="2021-03-17T20:25:27.503" v="6953" actId="20577"/>
          <ac:spMkLst>
            <pc:docMk/>
            <pc:sldMk cId="654040728" sldId="502"/>
            <ac:spMk id="26" creationId="{F7012B31-D035-4588-A480-DACDA83B843C}"/>
          </ac:spMkLst>
        </pc:spChg>
        <pc:spChg chg="mod">
          <ac:chgData name="Lars Ivar" userId="da83bdda-499a-4427-8775-f375be339a54" providerId="ADAL" clId="{9A0F3B70-5B95-42C4-94C3-05567C69E257}" dt="2021-03-15T09:55:03.822" v="2707" actId="207"/>
          <ac:spMkLst>
            <pc:docMk/>
            <pc:sldMk cId="654040728" sldId="502"/>
            <ac:spMk id="47" creationId="{6C356EA8-244C-43FE-B9CB-29498F936496}"/>
          </ac:spMkLst>
        </pc:spChg>
        <pc:spChg chg="mod">
          <ac:chgData name="Lars Ivar" userId="da83bdda-499a-4427-8775-f375be339a54" providerId="ADAL" clId="{9A0F3B70-5B95-42C4-94C3-05567C69E257}" dt="2021-03-15T09:54:59.502" v="2706" actId="207"/>
          <ac:spMkLst>
            <pc:docMk/>
            <pc:sldMk cId="654040728" sldId="502"/>
            <ac:spMk id="48" creationId="{9D47C256-5F5C-4CC2-ABD1-1020C8DCED15}"/>
          </ac:spMkLst>
        </pc:spChg>
      </pc:sldChg>
      <pc:sldChg chg="modSp mod modNotesTx">
        <pc:chgData name="Lars Ivar" userId="da83bdda-499a-4427-8775-f375be339a54" providerId="ADAL" clId="{9A0F3B70-5B95-42C4-94C3-05567C69E257}" dt="2021-03-15T11:08:25.755" v="4226"/>
        <pc:sldMkLst>
          <pc:docMk/>
          <pc:sldMk cId="1043329679" sldId="503"/>
        </pc:sldMkLst>
        <pc:spChg chg="mod">
          <ac:chgData name="Lars Ivar" userId="da83bdda-499a-4427-8775-f375be339a54" providerId="ADAL" clId="{9A0F3B70-5B95-42C4-94C3-05567C69E257}" dt="2021-03-15T11:08:19.280" v="4218" actId="20577"/>
          <ac:spMkLst>
            <pc:docMk/>
            <pc:sldMk cId="1043329679" sldId="503"/>
            <ac:spMk id="21" creationId="{E8BFC185-BD76-40F0-855E-6B5E5846BDDA}"/>
          </ac:spMkLst>
        </pc:spChg>
        <pc:spChg chg="mod">
          <ac:chgData name="Lars Ivar" userId="da83bdda-499a-4427-8775-f375be339a54" providerId="ADAL" clId="{9A0F3B70-5B95-42C4-94C3-05567C69E257}" dt="2021-03-15T09:55:31.577" v="2710" actId="207"/>
          <ac:spMkLst>
            <pc:docMk/>
            <pc:sldMk cId="1043329679" sldId="503"/>
            <ac:spMk id="47" creationId="{1263DAA0-EEC1-4941-8782-D232B3F94E0D}"/>
          </ac:spMkLst>
        </pc:spChg>
        <pc:spChg chg="mod">
          <ac:chgData name="Lars Ivar" userId="da83bdda-499a-4427-8775-f375be339a54" providerId="ADAL" clId="{9A0F3B70-5B95-42C4-94C3-05567C69E257}" dt="2021-03-15T09:55:39.250" v="2711" actId="207"/>
          <ac:spMkLst>
            <pc:docMk/>
            <pc:sldMk cId="1043329679" sldId="503"/>
            <ac:spMk id="48" creationId="{97E5A894-CCFC-468E-B366-E6D38DD622AE}"/>
          </ac:spMkLst>
        </pc:spChg>
      </pc:sldChg>
      <pc:sldChg chg="addSp delSp modSp mod modNotesTx">
        <pc:chgData name="Lars Ivar" userId="da83bdda-499a-4427-8775-f375be339a54" providerId="ADAL" clId="{9A0F3B70-5B95-42C4-94C3-05567C69E257}" dt="2021-03-15T11:40:37.251" v="4504"/>
        <pc:sldMkLst>
          <pc:docMk/>
          <pc:sldMk cId="1770612176" sldId="504"/>
        </pc:sldMkLst>
        <pc:spChg chg="mod">
          <ac:chgData name="Lars Ivar" userId="da83bdda-499a-4427-8775-f375be339a54" providerId="ADAL" clId="{9A0F3B70-5B95-42C4-94C3-05567C69E257}" dt="2021-03-15T11:40:37.251" v="4504"/>
          <ac:spMkLst>
            <pc:docMk/>
            <pc:sldMk cId="1770612176" sldId="504"/>
            <ac:spMk id="47" creationId="{44F4156E-AC13-412F-A964-D49C384BC18E}"/>
          </ac:spMkLst>
        </pc:spChg>
        <pc:spChg chg="mod">
          <ac:chgData name="Lars Ivar" userId="da83bdda-499a-4427-8775-f375be339a54" providerId="ADAL" clId="{9A0F3B70-5B95-42C4-94C3-05567C69E257}" dt="2021-03-15T11:40:37.251" v="4504"/>
          <ac:spMkLst>
            <pc:docMk/>
            <pc:sldMk cId="1770612176" sldId="504"/>
            <ac:spMk id="48" creationId="{051EFFCC-3A4D-4359-A958-5D8FDCCA5BC1}"/>
          </ac:spMkLst>
        </pc:spChg>
        <pc:spChg chg="mod">
          <ac:chgData name="Lars Ivar" userId="da83bdda-499a-4427-8775-f375be339a54" providerId="ADAL" clId="{9A0F3B70-5B95-42C4-94C3-05567C69E257}" dt="2021-03-15T11:40:37.251" v="4504"/>
          <ac:spMkLst>
            <pc:docMk/>
            <pc:sldMk cId="1770612176" sldId="504"/>
            <ac:spMk id="49" creationId="{CFBC5296-5AA6-46FB-B11E-F313F986F991}"/>
          </ac:spMkLst>
        </pc:spChg>
        <pc:spChg chg="mod">
          <ac:chgData name="Lars Ivar" userId="da83bdda-499a-4427-8775-f375be339a54" providerId="ADAL" clId="{9A0F3B70-5B95-42C4-94C3-05567C69E257}" dt="2021-03-15T11:40:37.251" v="4504"/>
          <ac:spMkLst>
            <pc:docMk/>
            <pc:sldMk cId="1770612176" sldId="504"/>
            <ac:spMk id="50" creationId="{18DB76CE-1FF7-4C36-AA92-B8F542DDCE83}"/>
          </ac:spMkLst>
        </pc:spChg>
        <pc:spChg chg="mod">
          <ac:chgData name="Lars Ivar" userId="da83bdda-499a-4427-8775-f375be339a54" providerId="ADAL" clId="{9A0F3B70-5B95-42C4-94C3-05567C69E257}" dt="2021-03-15T11:40:37.251" v="4504"/>
          <ac:spMkLst>
            <pc:docMk/>
            <pc:sldMk cId="1770612176" sldId="504"/>
            <ac:spMk id="51" creationId="{5E57A6EF-B94E-42B5-B860-3ADA8E091061}"/>
          </ac:spMkLst>
        </pc:spChg>
        <pc:spChg chg="mod">
          <ac:chgData name="Lars Ivar" userId="da83bdda-499a-4427-8775-f375be339a54" providerId="ADAL" clId="{9A0F3B70-5B95-42C4-94C3-05567C69E257}" dt="2021-03-15T11:40:37.251" v="4504"/>
          <ac:spMkLst>
            <pc:docMk/>
            <pc:sldMk cId="1770612176" sldId="504"/>
            <ac:spMk id="52" creationId="{BE390006-8310-40D5-A2DA-948541402512}"/>
          </ac:spMkLst>
        </pc:spChg>
        <pc:spChg chg="mod">
          <ac:chgData name="Lars Ivar" userId="da83bdda-499a-4427-8775-f375be339a54" providerId="ADAL" clId="{9A0F3B70-5B95-42C4-94C3-05567C69E257}" dt="2021-03-15T11:40:37.251" v="4504"/>
          <ac:spMkLst>
            <pc:docMk/>
            <pc:sldMk cId="1770612176" sldId="504"/>
            <ac:spMk id="53" creationId="{C048A0D9-5FFC-4C43-85C1-7C97A2472132}"/>
          </ac:spMkLst>
        </pc:spChg>
        <pc:spChg chg="mod">
          <ac:chgData name="Lars Ivar" userId="da83bdda-499a-4427-8775-f375be339a54" providerId="ADAL" clId="{9A0F3B70-5B95-42C4-94C3-05567C69E257}" dt="2021-03-15T11:40:37.251" v="4504"/>
          <ac:spMkLst>
            <pc:docMk/>
            <pc:sldMk cId="1770612176" sldId="504"/>
            <ac:spMk id="54" creationId="{725979F5-94F5-4887-A052-FD2A2699973C}"/>
          </ac:spMkLst>
        </pc:spChg>
        <pc:spChg chg="mod">
          <ac:chgData name="Lars Ivar" userId="da83bdda-499a-4427-8775-f375be339a54" providerId="ADAL" clId="{9A0F3B70-5B95-42C4-94C3-05567C69E257}" dt="2021-03-15T11:40:37.251" v="4504"/>
          <ac:spMkLst>
            <pc:docMk/>
            <pc:sldMk cId="1770612176" sldId="504"/>
            <ac:spMk id="55" creationId="{26C97296-4835-4F8F-AE23-C0060790FB75}"/>
          </ac:spMkLst>
        </pc:spChg>
        <pc:spChg chg="mod">
          <ac:chgData name="Lars Ivar" userId="da83bdda-499a-4427-8775-f375be339a54" providerId="ADAL" clId="{9A0F3B70-5B95-42C4-94C3-05567C69E257}" dt="2021-03-15T11:40:37.251" v="4504"/>
          <ac:spMkLst>
            <pc:docMk/>
            <pc:sldMk cId="1770612176" sldId="504"/>
            <ac:spMk id="56" creationId="{E4A5CA55-2325-4B23-8438-A049AB98ADB5}"/>
          </ac:spMkLst>
        </pc:spChg>
        <pc:grpChg chg="add mod">
          <ac:chgData name="Lars Ivar" userId="da83bdda-499a-4427-8775-f375be339a54" providerId="ADAL" clId="{9A0F3B70-5B95-42C4-94C3-05567C69E257}" dt="2021-03-15T11:40:37.251" v="4504"/>
          <ac:grpSpMkLst>
            <pc:docMk/>
            <pc:sldMk cId="1770612176" sldId="504"/>
            <ac:grpSpMk id="23" creationId="{B0763977-86AE-49C9-966D-14CE150CDB98}"/>
          </ac:grpSpMkLst>
        </pc:grpChg>
        <pc:grpChg chg="mod">
          <ac:chgData name="Lars Ivar" userId="da83bdda-499a-4427-8775-f375be339a54" providerId="ADAL" clId="{9A0F3B70-5B95-42C4-94C3-05567C69E257}" dt="2021-03-15T11:40:37.251" v="4504"/>
          <ac:grpSpMkLst>
            <pc:docMk/>
            <pc:sldMk cId="1770612176" sldId="504"/>
            <ac:grpSpMk id="24" creationId="{AD65D0D9-0E45-4AB8-B481-14CB798AC1C8}"/>
          </ac:grpSpMkLst>
        </pc:grpChg>
        <pc:grpChg chg="del">
          <ac:chgData name="Lars Ivar" userId="da83bdda-499a-4427-8775-f375be339a54" providerId="ADAL" clId="{9A0F3B70-5B95-42C4-94C3-05567C69E257}" dt="2021-03-15T11:40:36.833" v="4503" actId="478"/>
          <ac:grpSpMkLst>
            <pc:docMk/>
            <pc:sldMk cId="1770612176" sldId="504"/>
            <ac:grpSpMk id="25" creationId="{0F9B27B9-640B-4A52-AAF6-8A48C7C5619E}"/>
          </ac:grpSpMkLst>
        </pc:grpChg>
        <pc:grpChg chg="mod">
          <ac:chgData name="Lars Ivar" userId="da83bdda-499a-4427-8775-f375be339a54" providerId="ADAL" clId="{9A0F3B70-5B95-42C4-94C3-05567C69E257}" dt="2021-03-15T11:40:37.251" v="4504"/>
          <ac:grpSpMkLst>
            <pc:docMk/>
            <pc:sldMk cId="1770612176" sldId="504"/>
            <ac:grpSpMk id="43" creationId="{0C0684C7-C7FE-4E4A-977A-BAA84632716D}"/>
          </ac:grpSpMkLst>
        </pc:grpChg>
        <pc:grpChg chg="mod">
          <ac:chgData name="Lars Ivar" userId="da83bdda-499a-4427-8775-f375be339a54" providerId="ADAL" clId="{9A0F3B70-5B95-42C4-94C3-05567C69E257}" dt="2021-03-15T11:40:37.251" v="4504"/>
          <ac:grpSpMkLst>
            <pc:docMk/>
            <pc:sldMk cId="1770612176" sldId="504"/>
            <ac:grpSpMk id="44" creationId="{26D6CA66-966C-4AEE-8578-C519DF3A1805}"/>
          </ac:grpSpMkLst>
        </pc:grpChg>
        <pc:grpChg chg="mod">
          <ac:chgData name="Lars Ivar" userId="da83bdda-499a-4427-8775-f375be339a54" providerId="ADAL" clId="{9A0F3B70-5B95-42C4-94C3-05567C69E257}" dt="2021-03-15T11:40:37.251" v="4504"/>
          <ac:grpSpMkLst>
            <pc:docMk/>
            <pc:sldMk cId="1770612176" sldId="504"/>
            <ac:grpSpMk id="45" creationId="{831C5D8F-22F7-4CA9-958C-741D24515674}"/>
          </ac:grpSpMkLst>
        </pc:grpChg>
        <pc:grpChg chg="mod">
          <ac:chgData name="Lars Ivar" userId="da83bdda-499a-4427-8775-f375be339a54" providerId="ADAL" clId="{9A0F3B70-5B95-42C4-94C3-05567C69E257}" dt="2021-03-15T11:40:37.251" v="4504"/>
          <ac:grpSpMkLst>
            <pc:docMk/>
            <pc:sldMk cId="1770612176" sldId="504"/>
            <ac:grpSpMk id="46" creationId="{E45E2A62-4DF0-4BEA-A021-86733782DD7D}"/>
          </ac:grpSpMkLst>
        </pc:grpChg>
      </pc:sldChg>
      <pc:sldChg chg="addSp delSp modSp mod">
        <pc:chgData name="Lars Ivar" userId="da83bdda-499a-4427-8775-f375be339a54" providerId="ADAL" clId="{9A0F3B70-5B95-42C4-94C3-05567C69E257}" dt="2021-03-17T20:47:44.492" v="7539" actId="403"/>
        <pc:sldMkLst>
          <pc:docMk/>
          <pc:sldMk cId="2852395672" sldId="505"/>
        </pc:sldMkLst>
        <pc:spChg chg="add mod">
          <ac:chgData name="Lars Ivar" userId="da83bdda-499a-4427-8775-f375be339a54" providerId="ADAL" clId="{9A0F3B70-5B95-42C4-94C3-05567C69E257}" dt="2021-03-15T11:36:22.122" v="4422" actId="20577"/>
          <ac:spMkLst>
            <pc:docMk/>
            <pc:sldMk cId="2852395672" sldId="505"/>
            <ac:spMk id="2" creationId="{33601CFE-4348-41B6-B6FC-0A0DBC274093}"/>
          </ac:spMkLst>
        </pc:spChg>
        <pc:spChg chg="mod">
          <ac:chgData name="Lars Ivar" userId="da83bdda-499a-4427-8775-f375be339a54" providerId="ADAL" clId="{9A0F3B70-5B95-42C4-94C3-05567C69E257}" dt="2021-03-17T20:47:44.492" v="7539" actId="403"/>
          <ac:spMkLst>
            <pc:docMk/>
            <pc:sldMk cId="2852395672" sldId="505"/>
            <ac:spMk id="26" creationId="{F7012B31-D035-4588-A480-DACDA83B843C}"/>
          </ac:spMkLst>
        </pc:spChg>
        <pc:spChg chg="mod">
          <ac:chgData name="Lars Ivar" userId="da83bdda-499a-4427-8775-f375be339a54" providerId="ADAL" clId="{9A0F3B70-5B95-42C4-94C3-05567C69E257}" dt="2021-03-15T11:40:39.650" v="4506"/>
          <ac:spMkLst>
            <pc:docMk/>
            <pc:sldMk cId="2852395672" sldId="505"/>
            <ac:spMk id="34" creationId="{A9469011-8B98-4716-B9A9-E9AD3EA5952C}"/>
          </ac:spMkLst>
        </pc:spChg>
        <pc:spChg chg="mod">
          <ac:chgData name="Lars Ivar" userId="da83bdda-499a-4427-8775-f375be339a54" providerId="ADAL" clId="{9A0F3B70-5B95-42C4-94C3-05567C69E257}" dt="2021-03-15T11:40:39.650" v="4506"/>
          <ac:spMkLst>
            <pc:docMk/>
            <pc:sldMk cId="2852395672" sldId="505"/>
            <ac:spMk id="35" creationId="{C635C9F7-B359-476B-A346-E2998FAAED74}"/>
          </ac:spMkLst>
        </pc:spChg>
        <pc:spChg chg="mod">
          <ac:chgData name="Lars Ivar" userId="da83bdda-499a-4427-8775-f375be339a54" providerId="ADAL" clId="{9A0F3B70-5B95-42C4-94C3-05567C69E257}" dt="2021-03-15T11:40:39.650" v="4506"/>
          <ac:spMkLst>
            <pc:docMk/>
            <pc:sldMk cId="2852395672" sldId="505"/>
            <ac:spMk id="36" creationId="{702F2599-164C-4721-B379-6A8AACD4496D}"/>
          </ac:spMkLst>
        </pc:spChg>
        <pc:spChg chg="mod">
          <ac:chgData name="Lars Ivar" userId="da83bdda-499a-4427-8775-f375be339a54" providerId="ADAL" clId="{9A0F3B70-5B95-42C4-94C3-05567C69E257}" dt="2021-03-15T11:40:39.650" v="4506"/>
          <ac:spMkLst>
            <pc:docMk/>
            <pc:sldMk cId="2852395672" sldId="505"/>
            <ac:spMk id="37" creationId="{517B9AA2-F1A4-435E-8FB3-82ADC5207F6E}"/>
          </ac:spMkLst>
        </pc:spChg>
        <pc:spChg chg="mod">
          <ac:chgData name="Lars Ivar" userId="da83bdda-499a-4427-8775-f375be339a54" providerId="ADAL" clId="{9A0F3B70-5B95-42C4-94C3-05567C69E257}" dt="2021-03-15T11:40:39.650" v="4506"/>
          <ac:spMkLst>
            <pc:docMk/>
            <pc:sldMk cId="2852395672" sldId="505"/>
            <ac:spMk id="38" creationId="{93D001E4-53C1-45DE-9B59-8D8A3E03F69D}"/>
          </ac:spMkLst>
        </pc:spChg>
        <pc:spChg chg="mod">
          <ac:chgData name="Lars Ivar" userId="da83bdda-499a-4427-8775-f375be339a54" providerId="ADAL" clId="{9A0F3B70-5B95-42C4-94C3-05567C69E257}" dt="2021-03-15T11:40:39.650" v="4506"/>
          <ac:spMkLst>
            <pc:docMk/>
            <pc:sldMk cId="2852395672" sldId="505"/>
            <ac:spMk id="39" creationId="{1EB10528-7528-4D1A-9998-C9E20DCD3023}"/>
          </ac:spMkLst>
        </pc:spChg>
        <pc:spChg chg="mod">
          <ac:chgData name="Lars Ivar" userId="da83bdda-499a-4427-8775-f375be339a54" providerId="ADAL" clId="{9A0F3B70-5B95-42C4-94C3-05567C69E257}" dt="2021-03-15T11:40:39.650" v="4506"/>
          <ac:spMkLst>
            <pc:docMk/>
            <pc:sldMk cId="2852395672" sldId="505"/>
            <ac:spMk id="40" creationId="{6ECA76CD-604F-4752-B3AA-8AD3E36556DE}"/>
          </ac:spMkLst>
        </pc:spChg>
        <pc:spChg chg="mod">
          <ac:chgData name="Lars Ivar" userId="da83bdda-499a-4427-8775-f375be339a54" providerId="ADAL" clId="{9A0F3B70-5B95-42C4-94C3-05567C69E257}" dt="2021-03-15T11:40:39.650" v="4506"/>
          <ac:spMkLst>
            <pc:docMk/>
            <pc:sldMk cId="2852395672" sldId="505"/>
            <ac:spMk id="41" creationId="{21CB985B-363E-4D7B-8242-1B2C467D5C2D}"/>
          </ac:spMkLst>
        </pc:spChg>
        <pc:spChg chg="mod">
          <ac:chgData name="Lars Ivar" userId="da83bdda-499a-4427-8775-f375be339a54" providerId="ADAL" clId="{9A0F3B70-5B95-42C4-94C3-05567C69E257}" dt="2021-03-15T11:40:39.650" v="4506"/>
          <ac:spMkLst>
            <pc:docMk/>
            <pc:sldMk cId="2852395672" sldId="505"/>
            <ac:spMk id="42" creationId="{F48C8CCF-4422-427A-83D3-B072756FAD11}"/>
          </ac:spMkLst>
        </pc:spChg>
        <pc:spChg chg="mod">
          <ac:chgData name="Lars Ivar" userId="da83bdda-499a-4427-8775-f375be339a54" providerId="ADAL" clId="{9A0F3B70-5B95-42C4-94C3-05567C69E257}" dt="2021-03-15T11:40:39.650" v="4506"/>
          <ac:spMkLst>
            <pc:docMk/>
            <pc:sldMk cId="2852395672" sldId="505"/>
            <ac:spMk id="58" creationId="{3833BD2D-09D7-4C7D-BF7C-242DB3811A24}"/>
          </ac:spMkLst>
        </pc:spChg>
        <pc:grpChg chg="del">
          <ac:chgData name="Lars Ivar" userId="da83bdda-499a-4427-8775-f375be339a54" providerId="ADAL" clId="{9A0F3B70-5B95-42C4-94C3-05567C69E257}" dt="2021-03-15T11:40:39.396" v="4505" actId="478"/>
          <ac:grpSpMkLst>
            <pc:docMk/>
            <pc:sldMk cId="2852395672" sldId="505"/>
            <ac:grpSpMk id="24" creationId="{E4B21F46-97C8-49EE-A458-4006FE7A1A8D}"/>
          </ac:grpSpMkLst>
        </pc:grpChg>
        <pc:grpChg chg="add mod">
          <ac:chgData name="Lars Ivar" userId="da83bdda-499a-4427-8775-f375be339a54" providerId="ADAL" clId="{9A0F3B70-5B95-42C4-94C3-05567C69E257}" dt="2021-03-15T11:40:39.650" v="4506"/>
          <ac:grpSpMkLst>
            <pc:docMk/>
            <pc:sldMk cId="2852395672" sldId="505"/>
            <ac:grpSpMk id="25" creationId="{BDF5F59C-F217-4850-B048-3BFF60D8CB70}"/>
          </ac:grpSpMkLst>
        </pc:grpChg>
        <pc:grpChg chg="mod">
          <ac:chgData name="Lars Ivar" userId="da83bdda-499a-4427-8775-f375be339a54" providerId="ADAL" clId="{9A0F3B70-5B95-42C4-94C3-05567C69E257}" dt="2021-03-15T11:40:39.650" v="4506"/>
          <ac:grpSpMkLst>
            <pc:docMk/>
            <pc:sldMk cId="2852395672" sldId="505"/>
            <ac:grpSpMk id="29" creationId="{9B6D8EE8-F70B-4EBC-BE34-D2F097AB09C1}"/>
          </ac:grpSpMkLst>
        </pc:grpChg>
        <pc:grpChg chg="mod">
          <ac:chgData name="Lars Ivar" userId="da83bdda-499a-4427-8775-f375be339a54" providerId="ADAL" clId="{9A0F3B70-5B95-42C4-94C3-05567C69E257}" dt="2021-03-15T11:40:39.650" v="4506"/>
          <ac:grpSpMkLst>
            <pc:docMk/>
            <pc:sldMk cId="2852395672" sldId="505"/>
            <ac:grpSpMk id="30" creationId="{1814BB77-A52F-4FEB-939A-E672106671B1}"/>
          </ac:grpSpMkLst>
        </pc:grpChg>
        <pc:grpChg chg="mod">
          <ac:chgData name="Lars Ivar" userId="da83bdda-499a-4427-8775-f375be339a54" providerId="ADAL" clId="{9A0F3B70-5B95-42C4-94C3-05567C69E257}" dt="2021-03-15T11:40:39.650" v="4506"/>
          <ac:grpSpMkLst>
            <pc:docMk/>
            <pc:sldMk cId="2852395672" sldId="505"/>
            <ac:grpSpMk id="31" creationId="{29A7D81C-6E50-4AAD-A31A-865C04A1B3EC}"/>
          </ac:grpSpMkLst>
        </pc:grpChg>
        <pc:grpChg chg="mod">
          <ac:chgData name="Lars Ivar" userId="da83bdda-499a-4427-8775-f375be339a54" providerId="ADAL" clId="{9A0F3B70-5B95-42C4-94C3-05567C69E257}" dt="2021-03-15T11:40:39.650" v="4506"/>
          <ac:grpSpMkLst>
            <pc:docMk/>
            <pc:sldMk cId="2852395672" sldId="505"/>
            <ac:grpSpMk id="32" creationId="{82105CFF-056E-4EE6-8657-9E8AA88A1600}"/>
          </ac:grpSpMkLst>
        </pc:grpChg>
        <pc:grpChg chg="mod">
          <ac:chgData name="Lars Ivar" userId="da83bdda-499a-4427-8775-f375be339a54" providerId="ADAL" clId="{9A0F3B70-5B95-42C4-94C3-05567C69E257}" dt="2021-03-15T11:40:39.650" v="4506"/>
          <ac:grpSpMkLst>
            <pc:docMk/>
            <pc:sldMk cId="2852395672" sldId="505"/>
            <ac:grpSpMk id="33" creationId="{BC4E91CC-04D1-46EC-9C69-440419912AA0}"/>
          </ac:grpSpMkLst>
        </pc:grpChg>
        <pc:picChg chg="mod">
          <ac:chgData name="Lars Ivar" userId="da83bdda-499a-4427-8775-f375be339a54" providerId="ADAL" clId="{9A0F3B70-5B95-42C4-94C3-05567C69E257}" dt="2021-03-15T11:36:08.995" v="4413" actId="1076"/>
          <ac:picMkLst>
            <pc:docMk/>
            <pc:sldMk cId="2852395672" sldId="505"/>
            <ac:picMk id="22" creationId="{5DC11D89-FBA8-4BB1-A15D-90EFD8BBFA98}"/>
          </ac:picMkLst>
        </pc:picChg>
        <pc:picChg chg="mod">
          <ac:chgData name="Lars Ivar" userId="da83bdda-499a-4427-8775-f375be339a54" providerId="ADAL" clId="{9A0F3B70-5B95-42C4-94C3-05567C69E257}" dt="2021-03-15T11:36:07.261" v="4412" actId="1076"/>
          <ac:picMkLst>
            <pc:docMk/>
            <pc:sldMk cId="2852395672" sldId="505"/>
            <ac:picMk id="23" creationId="{65508086-799B-4715-A72B-95F1F89695CB}"/>
          </ac:picMkLst>
        </pc:picChg>
      </pc:sldChg>
      <pc:sldChg chg="addSp delSp modSp mod">
        <pc:chgData name="Lars Ivar" userId="da83bdda-499a-4427-8775-f375be339a54" providerId="ADAL" clId="{9A0F3B70-5B95-42C4-94C3-05567C69E257}" dt="2021-03-15T12:10:00.868" v="6242" actId="20577"/>
        <pc:sldMkLst>
          <pc:docMk/>
          <pc:sldMk cId="962466913" sldId="506"/>
        </pc:sldMkLst>
        <pc:spChg chg="mod">
          <ac:chgData name="Lars Ivar" userId="da83bdda-499a-4427-8775-f375be339a54" providerId="ADAL" clId="{9A0F3B70-5B95-42C4-94C3-05567C69E257}" dt="2021-03-15T12:10:00.868" v="6242" actId="20577"/>
          <ac:spMkLst>
            <pc:docMk/>
            <pc:sldMk cId="962466913" sldId="506"/>
            <ac:spMk id="7" creationId="{63991A79-2DF5-4987-8986-F8B6237BF2C9}"/>
          </ac:spMkLst>
        </pc:spChg>
        <pc:spChg chg="mod">
          <ac:chgData name="Lars Ivar" userId="da83bdda-499a-4427-8775-f375be339a54" providerId="ADAL" clId="{9A0F3B70-5B95-42C4-94C3-05567C69E257}" dt="2021-03-15T09:56:11.433" v="2716"/>
          <ac:spMkLst>
            <pc:docMk/>
            <pc:sldMk cId="962466913" sldId="506"/>
            <ac:spMk id="30" creationId="{0C2C6E36-6A6C-468B-BB97-C14832F14E13}"/>
          </ac:spMkLst>
        </pc:spChg>
        <pc:spChg chg="mod">
          <ac:chgData name="Lars Ivar" userId="da83bdda-499a-4427-8775-f375be339a54" providerId="ADAL" clId="{9A0F3B70-5B95-42C4-94C3-05567C69E257}" dt="2021-03-15T09:56:11.433" v="2716"/>
          <ac:spMkLst>
            <pc:docMk/>
            <pc:sldMk cId="962466913" sldId="506"/>
            <ac:spMk id="31" creationId="{3C3D07DD-E3BC-4D77-BAC2-69E7A71905DB}"/>
          </ac:spMkLst>
        </pc:spChg>
        <pc:spChg chg="mod">
          <ac:chgData name="Lars Ivar" userId="da83bdda-499a-4427-8775-f375be339a54" providerId="ADAL" clId="{9A0F3B70-5B95-42C4-94C3-05567C69E257}" dt="2021-03-15T09:56:11.433" v="2716"/>
          <ac:spMkLst>
            <pc:docMk/>
            <pc:sldMk cId="962466913" sldId="506"/>
            <ac:spMk id="32" creationId="{A7038814-2A10-42AD-827F-538FC46B1D48}"/>
          </ac:spMkLst>
        </pc:spChg>
        <pc:spChg chg="mod">
          <ac:chgData name="Lars Ivar" userId="da83bdda-499a-4427-8775-f375be339a54" providerId="ADAL" clId="{9A0F3B70-5B95-42C4-94C3-05567C69E257}" dt="2021-03-15T09:56:11.433" v="2716"/>
          <ac:spMkLst>
            <pc:docMk/>
            <pc:sldMk cId="962466913" sldId="506"/>
            <ac:spMk id="33" creationId="{C8243F62-B804-45CF-8086-E468741995D6}"/>
          </ac:spMkLst>
        </pc:spChg>
        <pc:spChg chg="mod">
          <ac:chgData name="Lars Ivar" userId="da83bdda-499a-4427-8775-f375be339a54" providerId="ADAL" clId="{9A0F3B70-5B95-42C4-94C3-05567C69E257}" dt="2021-03-15T09:56:11.433" v="2716"/>
          <ac:spMkLst>
            <pc:docMk/>
            <pc:sldMk cId="962466913" sldId="506"/>
            <ac:spMk id="34" creationId="{3C321537-6577-459A-A6B8-7DA734CF448E}"/>
          </ac:spMkLst>
        </pc:spChg>
        <pc:spChg chg="mod">
          <ac:chgData name="Lars Ivar" userId="da83bdda-499a-4427-8775-f375be339a54" providerId="ADAL" clId="{9A0F3B70-5B95-42C4-94C3-05567C69E257}" dt="2021-03-15T09:56:11.433" v="2716"/>
          <ac:spMkLst>
            <pc:docMk/>
            <pc:sldMk cId="962466913" sldId="506"/>
            <ac:spMk id="53" creationId="{1AC09E5A-24C8-4639-A083-A54F40B09524}"/>
          </ac:spMkLst>
        </pc:spChg>
        <pc:spChg chg="mod">
          <ac:chgData name="Lars Ivar" userId="da83bdda-499a-4427-8775-f375be339a54" providerId="ADAL" clId="{9A0F3B70-5B95-42C4-94C3-05567C69E257}" dt="2021-03-15T09:56:11.433" v="2716"/>
          <ac:spMkLst>
            <pc:docMk/>
            <pc:sldMk cId="962466913" sldId="506"/>
            <ac:spMk id="54" creationId="{181B143C-70C6-461C-B8E9-B4C2CEECB34C}"/>
          </ac:spMkLst>
        </pc:spChg>
        <pc:spChg chg="mod">
          <ac:chgData name="Lars Ivar" userId="da83bdda-499a-4427-8775-f375be339a54" providerId="ADAL" clId="{9A0F3B70-5B95-42C4-94C3-05567C69E257}" dt="2021-03-15T09:56:11.433" v="2716"/>
          <ac:spMkLst>
            <pc:docMk/>
            <pc:sldMk cId="962466913" sldId="506"/>
            <ac:spMk id="55" creationId="{185163D1-78EB-47AC-903D-CD3441F4D046}"/>
          </ac:spMkLst>
        </pc:spChg>
        <pc:spChg chg="mod">
          <ac:chgData name="Lars Ivar" userId="da83bdda-499a-4427-8775-f375be339a54" providerId="ADAL" clId="{9A0F3B70-5B95-42C4-94C3-05567C69E257}" dt="2021-03-15T09:56:11.433" v="2716"/>
          <ac:spMkLst>
            <pc:docMk/>
            <pc:sldMk cId="962466913" sldId="506"/>
            <ac:spMk id="56" creationId="{A8E7A210-252D-4661-933D-C322F899FD7D}"/>
          </ac:spMkLst>
        </pc:spChg>
        <pc:spChg chg="mod">
          <ac:chgData name="Lars Ivar" userId="da83bdda-499a-4427-8775-f375be339a54" providerId="ADAL" clId="{9A0F3B70-5B95-42C4-94C3-05567C69E257}" dt="2021-03-15T09:56:11.433" v="2716"/>
          <ac:spMkLst>
            <pc:docMk/>
            <pc:sldMk cId="962466913" sldId="506"/>
            <ac:spMk id="57" creationId="{262FAE65-D70D-4A7F-81D8-8EADCB3799D8}"/>
          </ac:spMkLst>
        </pc:spChg>
        <pc:spChg chg="mod">
          <ac:chgData name="Lars Ivar" userId="da83bdda-499a-4427-8775-f375be339a54" providerId="ADAL" clId="{9A0F3B70-5B95-42C4-94C3-05567C69E257}" dt="2021-03-15T11:40:12.255" v="4493"/>
          <ac:spMkLst>
            <pc:docMk/>
            <pc:sldMk cId="962466913" sldId="506"/>
            <ac:spMk id="65" creationId="{7B8C70D5-2BE6-470F-9F48-47680D1C4F8C}"/>
          </ac:spMkLst>
        </pc:spChg>
        <pc:spChg chg="mod">
          <ac:chgData name="Lars Ivar" userId="da83bdda-499a-4427-8775-f375be339a54" providerId="ADAL" clId="{9A0F3B70-5B95-42C4-94C3-05567C69E257}" dt="2021-03-15T11:40:12.255" v="4493"/>
          <ac:spMkLst>
            <pc:docMk/>
            <pc:sldMk cId="962466913" sldId="506"/>
            <ac:spMk id="66" creationId="{F9E9CB70-4A36-4D29-BA76-FB533C03DEC2}"/>
          </ac:spMkLst>
        </pc:spChg>
        <pc:spChg chg="mod">
          <ac:chgData name="Lars Ivar" userId="da83bdda-499a-4427-8775-f375be339a54" providerId="ADAL" clId="{9A0F3B70-5B95-42C4-94C3-05567C69E257}" dt="2021-03-15T11:40:12.255" v="4493"/>
          <ac:spMkLst>
            <pc:docMk/>
            <pc:sldMk cId="962466913" sldId="506"/>
            <ac:spMk id="67" creationId="{3FA6CD24-3635-4D7D-97B3-2565683F6436}"/>
          </ac:spMkLst>
        </pc:spChg>
        <pc:spChg chg="mod">
          <ac:chgData name="Lars Ivar" userId="da83bdda-499a-4427-8775-f375be339a54" providerId="ADAL" clId="{9A0F3B70-5B95-42C4-94C3-05567C69E257}" dt="2021-03-15T11:40:12.255" v="4493"/>
          <ac:spMkLst>
            <pc:docMk/>
            <pc:sldMk cId="962466913" sldId="506"/>
            <ac:spMk id="68" creationId="{72CF1BA3-2DA7-484B-A7EE-FA56193214CD}"/>
          </ac:spMkLst>
        </pc:spChg>
        <pc:spChg chg="mod">
          <ac:chgData name="Lars Ivar" userId="da83bdda-499a-4427-8775-f375be339a54" providerId="ADAL" clId="{9A0F3B70-5B95-42C4-94C3-05567C69E257}" dt="2021-03-15T11:40:12.255" v="4493"/>
          <ac:spMkLst>
            <pc:docMk/>
            <pc:sldMk cId="962466913" sldId="506"/>
            <ac:spMk id="69" creationId="{571BA07D-89A4-4122-9E9F-843F6BE9D04D}"/>
          </ac:spMkLst>
        </pc:spChg>
        <pc:spChg chg="mod">
          <ac:chgData name="Lars Ivar" userId="da83bdda-499a-4427-8775-f375be339a54" providerId="ADAL" clId="{9A0F3B70-5B95-42C4-94C3-05567C69E257}" dt="2021-03-15T11:40:12.255" v="4493"/>
          <ac:spMkLst>
            <pc:docMk/>
            <pc:sldMk cId="962466913" sldId="506"/>
            <ac:spMk id="70" creationId="{1EF2818D-3946-4F96-88A6-EDCCC2FB0869}"/>
          </ac:spMkLst>
        </pc:spChg>
        <pc:spChg chg="mod">
          <ac:chgData name="Lars Ivar" userId="da83bdda-499a-4427-8775-f375be339a54" providerId="ADAL" clId="{9A0F3B70-5B95-42C4-94C3-05567C69E257}" dt="2021-03-15T11:40:12.255" v="4493"/>
          <ac:spMkLst>
            <pc:docMk/>
            <pc:sldMk cId="962466913" sldId="506"/>
            <ac:spMk id="71" creationId="{193626E5-9B4C-4015-A90C-1944C87820B3}"/>
          </ac:spMkLst>
        </pc:spChg>
        <pc:spChg chg="mod">
          <ac:chgData name="Lars Ivar" userId="da83bdda-499a-4427-8775-f375be339a54" providerId="ADAL" clId="{9A0F3B70-5B95-42C4-94C3-05567C69E257}" dt="2021-03-15T11:40:12.255" v="4493"/>
          <ac:spMkLst>
            <pc:docMk/>
            <pc:sldMk cId="962466913" sldId="506"/>
            <ac:spMk id="72" creationId="{488ED2C1-E991-4F86-94E7-22507C556DBF}"/>
          </ac:spMkLst>
        </pc:spChg>
        <pc:spChg chg="mod">
          <ac:chgData name="Lars Ivar" userId="da83bdda-499a-4427-8775-f375be339a54" providerId="ADAL" clId="{9A0F3B70-5B95-42C4-94C3-05567C69E257}" dt="2021-03-15T11:40:12.255" v="4493"/>
          <ac:spMkLst>
            <pc:docMk/>
            <pc:sldMk cId="962466913" sldId="506"/>
            <ac:spMk id="73" creationId="{3E1ED25E-D0DB-4553-935C-81A61C8A14D5}"/>
          </ac:spMkLst>
        </pc:spChg>
        <pc:spChg chg="mod">
          <ac:chgData name="Lars Ivar" userId="da83bdda-499a-4427-8775-f375be339a54" providerId="ADAL" clId="{9A0F3B70-5B95-42C4-94C3-05567C69E257}" dt="2021-03-15T11:40:12.255" v="4493"/>
          <ac:spMkLst>
            <pc:docMk/>
            <pc:sldMk cId="962466913" sldId="506"/>
            <ac:spMk id="74" creationId="{8385F939-D6CA-4881-B3D3-4D8C91D397E6}"/>
          </ac:spMkLst>
        </pc:spChg>
        <pc:grpChg chg="del">
          <ac:chgData name="Lars Ivar" userId="da83bdda-499a-4427-8775-f375be339a54" providerId="ADAL" clId="{9A0F3B70-5B95-42C4-94C3-05567C69E257}" dt="2021-03-15T09:55:58.832" v="2712" actId="478"/>
          <ac:grpSpMkLst>
            <pc:docMk/>
            <pc:sldMk cId="962466913" sldId="506"/>
            <ac:grpSpMk id="2" creationId="{FB0E3E3F-4D6E-4365-B8D1-477E1C1440EC}"/>
          </ac:grpSpMkLst>
        </pc:grpChg>
        <pc:grpChg chg="add del mod">
          <ac:chgData name="Lars Ivar" userId="da83bdda-499a-4427-8775-f375be339a54" providerId="ADAL" clId="{9A0F3B70-5B95-42C4-94C3-05567C69E257}" dt="2021-03-15T11:40:11.884" v="4492" actId="478"/>
          <ac:grpSpMkLst>
            <pc:docMk/>
            <pc:sldMk cId="962466913" sldId="506"/>
            <ac:grpSpMk id="24" creationId="{0B8D9733-154A-46E5-87D2-8E29A5AC306F}"/>
          </ac:grpSpMkLst>
        </pc:grpChg>
        <pc:grpChg chg="mod">
          <ac:chgData name="Lars Ivar" userId="da83bdda-499a-4427-8775-f375be339a54" providerId="ADAL" clId="{9A0F3B70-5B95-42C4-94C3-05567C69E257}" dt="2021-03-15T09:56:11.433" v="2716"/>
          <ac:grpSpMkLst>
            <pc:docMk/>
            <pc:sldMk cId="962466913" sldId="506"/>
            <ac:grpSpMk id="25" creationId="{3F2462E9-E567-453B-93AF-1CC0F3D83B51}"/>
          </ac:grpSpMkLst>
        </pc:grpChg>
        <pc:grpChg chg="mod">
          <ac:chgData name="Lars Ivar" userId="da83bdda-499a-4427-8775-f375be339a54" providerId="ADAL" clId="{9A0F3B70-5B95-42C4-94C3-05567C69E257}" dt="2021-03-15T09:56:11.433" v="2716"/>
          <ac:grpSpMkLst>
            <pc:docMk/>
            <pc:sldMk cId="962466913" sldId="506"/>
            <ac:grpSpMk id="26" creationId="{AFA176E1-C774-4747-8008-0B463BFCFC18}"/>
          </ac:grpSpMkLst>
        </pc:grpChg>
        <pc:grpChg chg="mod">
          <ac:chgData name="Lars Ivar" userId="da83bdda-499a-4427-8775-f375be339a54" providerId="ADAL" clId="{9A0F3B70-5B95-42C4-94C3-05567C69E257}" dt="2021-03-15T09:56:11.433" v="2716"/>
          <ac:grpSpMkLst>
            <pc:docMk/>
            <pc:sldMk cId="962466913" sldId="506"/>
            <ac:grpSpMk id="27" creationId="{C5C910F3-9120-4B33-99DE-0B090C4156B2}"/>
          </ac:grpSpMkLst>
        </pc:grpChg>
        <pc:grpChg chg="mod">
          <ac:chgData name="Lars Ivar" userId="da83bdda-499a-4427-8775-f375be339a54" providerId="ADAL" clId="{9A0F3B70-5B95-42C4-94C3-05567C69E257}" dt="2021-03-15T09:56:11.433" v="2716"/>
          <ac:grpSpMkLst>
            <pc:docMk/>
            <pc:sldMk cId="962466913" sldId="506"/>
            <ac:grpSpMk id="28" creationId="{90ACDABC-EC0A-4043-8608-0453E63C59F0}"/>
          </ac:grpSpMkLst>
        </pc:grpChg>
        <pc:grpChg chg="mod">
          <ac:chgData name="Lars Ivar" userId="da83bdda-499a-4427-8775-f375be339a54" providerId="ADAL" clId="{9A0F3B70-5B95-42C4-94C3-05567C69E257}" dt="2021-03-15T09:56:11.433" v="2716"/>
          <ac:grpSpMkLst>
            <pc:docMk/>
            <pc:sldMk cId="962466913" sldId="506"/>
            <ac:grpSpMk id="29" creationId="{84897994-200F-40EE-BEA9-3ADADD5F9C61}"/>
          </ac:grpSpMkLst>
        </pc:grpChg>
        <pc:grpChg chg="add mod">
          <ac:chgData name="Lars Ivar" userId="da83bdda-499a-4427-8775-f375be339a54" providerId="ADAL" clId="{9A0F3B70-5B95-42C4-94C3-05567C69E257}" dt="2021-03-15T11:40:12.255" v="4493"/>
          <ac:grpSpMkLst>
            <pc:docMk/>
            <pc:sldMk cId="962466913" sldId="506"/>
            <ac:grpSpMk id="58" creationId="{570D39C8-0A57-47FA-9A56-383814B995CB}"/>
          </ac:grpSpMkLst>
        </pc:grpChg>
        <pc:grpChg chg="mod">
          <ac:chgData name="Lars Ivar" userId="da83bdda-499a-4427-8775-f375be339a54" providerId="ADAL" clId="{9A0F3B70-5B95-42C4-94C3-05567C69E257}" dt="2021-03-15T11:40:12.255" v="4493"/>
          <ac:grpSpMkLst>
            <pc:docMk/>
            <pc:sldMk cId="962466913" sldId="506"/>
            <ac:grpSpMk id="59" creationId="{E3054A9A-1077-4BDD-9A89-6BF18C114825}"/>
          </ac:grpSpMkLst>
        </pc:grpChg>
        <pc:grpChg chg="mod">
          <ac:chgData name="Lars Ivar" userId="da83bdda-499a-4427-8775-f375be339a54" providerId="ADAL" clId="{9A0F3B70-5B95-42C4-94C3-05567C69E257}" dt="2021-03-15T11:40:12.255" v="4493"/>
          <ac:grpSpMkLst>
            <pc:docMk/>
            <pc:sldMk cId="962466913" sldId="506"/>
            <ac:grpSpMk id="60" creationId="{AD475FD7-B38A-43E9-A6CB-EBCD34EEB7ED}"/>
          </ac:grpSpMkLst>
        </pc:grpChg>
        <pc:grpChg chg="mod">
          <ac:chgData name="Lars Ivar" userId="da83bdda-499a-4427-8775-f375be339a54" providerId="ADAL" clId="{9A0F3B70-5B95-42C4-94C3-05567C69E257}" dt="2021-03-15T11:40:12.255" v="4493"/>
          <ac:grpSpMkLst>
            <pc:docMk/>
            <pc:sldMk cId="962466913" sldId="506"/>
            <ac:grpSpMk id="61" creationId="{097F9D18-F9C1-426D-8F33-B37D041E9590}"/>
          </ac:grpSpMkLst>
        </pc:grpChg>
        <pc:grpChg chg="mod">
          <ac:chgData name="Lars Ivar" userId="da83bdda-499a-4427-8775-f375be339a54" providerId="ADAL" clId="{9A0F3B70-5B95-42C4-94C3-05567C69E257}" dt="2021-03-15T11:40:12.255" v="4493"/>
          <ac:grpSpMkLst>
            <pc:docMk/>
            <pc:sldMk cId="962466913" sldId="506"/>
            <ac:grpSpMk id="62" creationId="{260EDF8A-9129-4A70-8541-095C7033E52E}"/>
          </ac:grpSpMkLst>
        </pc:grpChg>
        <pc:grpChg chg="mod">
          <ac:chgData name="Lars Ivar" userId="da83bdda-499a-4427-8775-f375be339a54" providerId="ADAL" clId="{9A0F3B70-5B95-42C4-94C3-05567C69E257}" dt="2021-03-15T11:40:12.255" v="4493"/>
          <ac:grpSpMkLst>
            <pc:docMk/>
            <pc:sldMk cId="962466913" sldId="506"/>
            <ac:grpSpMk id="63" creationId="{52DB5926-1D82-4477-B0BA-8D9026DF86AE}"/>
          </ac:grpSpMkLst>
        </pc:grpChg>
      </pc:sldChg>
      <pc:sldChg chg="addSp delSp modSp mod">
        <pc:chgData name="Lars Ivar" userId="da83bdda-499a-4427-8775-f375be339a54" providerId="ADAL" clId="{9A0F3B70-5B95-42C4-94C3-05567C69E257}" dt="2021-03-15T12:07:14.998" v="6139" actId="255"/>
        <pc:sldMkLst>
          <pc:docMk/>
          <pc:sldMk cId="3412211343" sldId="507"/>
        </pc:sldMkLst>
        <pc:spChg chg="mod">
          <ac:chgData name="Lars Ivar" userId="da83bdda-499a-4427-8775-f375be339a54" providerId="ADAL" clId="{9A0F3B70-5B95-42C4-94C3-05567C69E257}" dt="2021-03-15T12:07:14.998" v="6139" actId="255"/>
          <ac:spMkLst>
            <pc:docMk/>
            <pc:sldMk cId="3412211343" sldId="507"/>
            <ac:spMk id="7" creationId="{63991A79-2DF5-4987-8986-F8B6237BF2C9}"/>
          </ac:spMkLst>
        </pc:spChg>
        <pc:spChg chg="mod">
          <ac:chgData name="Lars Ivar" userId="da83bdda-499a-4427-8775-f375be339a54" providerId="ADAL" clId="{9A0F3B70-5B95-42C4-94C3-05567C69E257}" dt="2021-03-15T11:40:23.148" v="4495"/>
          <ac:spMkLst>
            <pc:docMk/>
            <pc:sldMk cId="3412211343" sldId="507"/>
            <ac:spMk id="41" creationId="{22B9EC19-AF52-4A63-9807-60B307819AEF}"/>
          </ac:spMkLst>
        </pc:spChg>
        <pc:spChg chg="mod">
          <ac:chgData name="Lars Ivar" userId="da83bdda-499a-4427-8775-f375be339a54" providerId="ADAL" clId="{9A0F3B70-5B95-42C4-94C3-05567C69E257}" dt="2021-03-15T11:40:23.148" v="4495"/>
          <ac:spMkLst>
            <pc:docMk/>
            <pc:sldMk cId="3412211343" sldId="507"/>
            <ac:spMk id="44" creationId="{9CB4F822-9924-480B-9D73-8E56D3B317E8}"/>
          </ac:spMkLst>
        </pc:spChg>
        <pc:spChg chg="mod">
          <ac:chgData name="Lars Ivar" userId="da83bdda-499a-4427-8775-f375be339a54" providerId="ADAL" clId="{9A0F3B70-5B95-42C4-94C3-05567C69E257}" dt="2021-03-15T11:40:23.148" v="4495"/>
          <ac:spMkLst>
            <pc:docMk/>
            <pc:sldMk cId="3412211343" sldId="507"/>
            <ac:spMk id="47" creationId="{FD7C8BF7-91EF-44B1-9743-23663211DA3C}"/>
          </ac:spMkLst>
        </pc:spChg>
        <pc:spChg chg="mod">
          <ac:chgData name="Lars Ivar" userId="da83bdda-499a-4427-8775-f375be339a54" providerId="ADAL" clId="{9A0F3B70-5B95-42C4-94C3-05567C69E257}" dt="2021-03-15T11:40:23.148" v="4495"/>
          <ac:spMkLst>
            <pc:docMk/>
            <pc:sldMk cId="3412211343" sldId="507"/>
            <ac:spMk id="48" creationId="{BED9220E-7510-43E9-BD43-C446A7B8E5EE}"/>
          </ac:spMkLst>
        </pc:spChg>
        <pc:spChg chg="mod">
          <ac:chgData name="Lars Ivar" userId="da83bdda-499a-4427-8775-f375be339a54" providerId="ADAL" clId="{9A0F3B70-5B95-42C4-94C3-05567C69E257}" dt="2021-03-15T11:40:23.148" v="4495"/>
          <ac:spMkLst>
            <pc:docMk/>
            <pc:sldMk cId="3412211343" sldId="507"/>
            <ac:spMk id="49" creationId="{2EEF8288-09F0-4FE1-8275-FDE9DD9F5D51}"/>
          </ac:spMkLst>
        </pc:spChg>
        <pc:spChg chg="mod">
          <ac:chgData name="Lars Ivar" userId="da83bdda-499a-4427-8775-f375be339a54" providerId="ADAL" clId="{9A0F3B70-5B95-42C4-94C3-05567C69E257}" dt="2021-03-15T11:40:23.148" v="4495"/>
          <ac:spMkLst>
            <pc:docMk/>
            <pc:sldMk cId="3412211343" sldId="507"/>
            <ac:spMk id="50" creationId="{99D3BF32-DFB2-4941-B77D-F48DBC38A3C4}"/>
          </ac:spMkLst>
        </pc:spChg>
        <pc:spChg chg="mod">
          <ac:chgData name="Lars Ivar" userId="da83bdda-499a-4427-8775-f375be339a54" providerId="ADAL" clId="{9A0F3B70-5B95-42C4-94C3-05567C69E257}" dt="2021-03-15T11:40:23.148" v="4495"/>
          <ac:spMkLst>
            <pc:docMk/>
            <pc:sldMk cId="3412211343" sldId="507"/>
            <ac:spMk id="51" creationId="{9896AF2C-58B7-4E77-8B78-A5199011B846}"/>
          </ac:spMkLst>
        </pc:spChg>
        <pc:spChg chg="mod">
          <ac:chgData name="Lars Ivar" userId="da83bdda-499a-4427-8775-f375be339a54" providerId="ADAL" clId="{9A0F3B70-5B95-42C4-94C3-05567C69E257}" dt="2021-03-15T11:40:23.148" v="4495"/>
          <ac:spMkLst>
            <pc:docMk/>
            <pc:sldMk cId="3412211343" sldId="507"/>
            <ac:spMk id="52" creationId="{6D6BB947-65DE-4326-B31F-F0FEC3230E8D}"/>
          </ac:spMkLst>
        </pc:spChg>
        <pc:spChg chg="del">
          <ac:chgData name="Lars Ivar" userId="da83bdda-499a-4427-8775-f375be339a54" providerId="ADAL" clId="{9A0F3B70-5B95-42C4-94C3-05567C69E257}" dt="2021-03-15T11:40:22.801" v="4494" actId="478"/>
          <ac:spMkLst>
            <pc:docMk/>
            <pc:sldMk cId="3412211343" sldId="507"/>
            <ac:spMk id="55" creationId="{1413B019-7BD5-4004-943B-0133B71ADD1D}"/>
          </ac:spMkLst>
        </pc:spChg>
        <pc:spChg chg="mod">
          <ac:chgData name="Lars Ivar" userId="da83bdda-499a-4427-8775-f375be339a54" providerId="ADAL" clId="{9A0F3B70-5B95-42C4-94C3-05567C69E257}" dt="2021-03-15T11:40:23.148" v="4495"/>
          <ac:spMkLst>
            <pc:docMk/>
            <pc:sldMk cId="3412211343" sldId="507"/>
            <ac:spMk id="58" creationId="{F17278B0-6B51-4497-B9C9-A38F08861647}"/>
          </ac:spMkLst>
        </pc:spChg>
        <pc:spChg chg="mod">
          <ac:chgData name="Lars Ivar" userId="da83bdda-499a-4427-8775-f375be339a54" providerId="ADAL" clId="{9A0F3B70-5B95-42C4-94C3-05567C69E257}" dt="2021-03-15T11:40:23.148" v="4495"/>
          <ac:spMkLst>
            <pc:docMk/>
            <pc:sldMk cId="3412211343" sldId="507"/>
            <ac:spMk id="60" creationId="{0F2591A1-45B8-4678-8B72-4C2B3D2CEF2E}"/>
          </ac:spMkLst>
        </pc:spChg>
        <pc:spChg chg="mod">
          <ac:chgData name="Lars Ivar" userId="da83bdda-499a-4427-8775-f375be339a54" providerId="ADAL" clId="{9A0F3B70-5B95-42C4-94C3-05567C69E257}" dt="2021-03-15T11:40:26.504" v="4498"/>
          <ac:spMkLst>
            <pc:docMk/>
            <pc:sldMk cId="3412211343" sldId="507"/>
            <ac:spMk id="68" creationId="{CF7D52FD-B79B-4C95-A1AA-618ACF518CDC}"/>
          </ac:spMkLst>
        </pc:spChg>
        <pc:spChg chg="mod">
          <ac:chgData name="Lars Ivar" userId="da83bdda-499a-4427-8775-f375be339a54" providerId="ADAL" clId="{9A0F3B70-5B95-42C4-94C3-05567C69E257}" dt="2021-03-15T11:40:26.504" v="4498"/>
          <ac:spMkLst>
            <pc:docMk/>
            <pc:sldMk cId="3412211343" sldId="507"/>
            <ac:spMk id="69" creationId="{E8E1A376-2E6F-4C37-8639-B101B65B9F9E}"/>
          </ac:spMkLst>
        </pc:spChg>
        <pc:spChg chg="mod">
          <ac:chgData name="Lars Ivar" userId="da83bdda-499a-4427-8775-f375be339a54" providerId="ADAL" clId="{9A0F3B70-5B95-42C4-94C3-05567C69E257}" dt="2021-03-15T11:40:26.504" v="4498"/>
          <ac:spMkLst>
            <pc:docMk/>
            <pc:sldMk cId="3412211343" sldId="507"/>
            <ac:spMk id="70" creationId="{55ED78DB-5E46-419D-B39F-51C7BF8D2C67}"/>
          </ac:spMkLst>
        </pc:spChg>
        <pc:spChg chg="mod">
          <ac:chgData name="Lars Ivar" userId="da83bdda-499a-4427-8775-f375be339a54" providerId="ADAL" clId="{9A0F3B70-5B95-42C4-94C3-05567C69E257}" dt="2021-03-15T11:40:26.504" v="4498"/>
          <ac:spMkLst>
            <pc:docMk/>
            <pc:sldMk cId="3412211343" sldId="507"/>
            <ac:spMk id="71" creationId="{4139F8B5-DF2F-41F0-9D81-D50F6AF6761A}"/>
          </ac:spMkLst>
        </pc:spChg>
        <pc:spChg chg="mod">
          <ac:chgData name="Lars Ivar" userId="da83bdda-499a-4427-8775-f375be339a54" providerId="ADAL" clId="{9A0F3B70-5B95-42C4-94C3-05567C69E257}" dt="2021-03-15T11:40:26.504" v="4498"/>
          <ac:spMkLst>
            <pc:docMk/>
            <pc:sldMk cId="3412211343" sldId="507"/>
            <ac:spMk id="72" creationId="{B94FECE5-B0DE-4CDC-8E5A-76E0F08DB478}"/>
          </ac:spMkLst>
        </pc:spChg>
        <pc:spChg chg="mod">
          <ac:chgData name="Lars Ivar" userId="da83bdda-499a-4427-8775-f375be339a54" providerId="ADAL" clId="{9A0F3B70-5B95-42C4-94C3-05567C69E257}" dt="2021-03-15T11:40:26.504" v="4498"/>
          <ac:spMkLst>
            <pc:docMk/>
            <pc:sldMk cId="3412211343" sldId="507"/>
            <ac:spMk id="73" creationId="{5A0F49DA-83F5-4FBF-9EDF-3B5DFF4377FE}"/>
          </ac:spMkLst>
        </pc:spChg>
        <pc:spChg chg="mod">
          <ac:chgData name="Lars Ivar" userId="da83bdda-499a-4427-8775-f375be339a54" providerId="ADAL" clId="{9A0F3B70-5B95-42C4-94C3-05567C69E257}" dt="2021-03-15T11:40:26.504" v="4498"/>
          <ac:spMkLst>
            <pc:docMk/>
            <pc:sldMk cId="3412211343" sldId="507"/>
            <ac:spMk id="74" creationId="{EC1029A3-E29C-4166-9DFC-8B5FC613DEBE}"/>
          </ac:spMkLst>
        </pc:spChg>
        <pc:spChg chg="mod">
          <ac:chgData name="Lars Ivar" userId="da83bdda-499a-4427-8775-f375be339a54" providerId="ADAL" clId="{9A0F3B70-5B95-42C4-94C3-05567C69E257}" dt="2021-03-15T11:40:26.504" v="4498"/>
          <ac:spMkLst>
            <pc:docMk/>
            <pc:sldMk cId="3412211343" sldId="507"/>
            <ac:spMk id="75" creationId="{E2CF58D0-D40B-462A-86BD-34B2FD20864E}"/>
          </ac:spMkLst>
        </pc:spChg>
        <pc:spChg chg="mod">
          <ac:chgData name="Lars Ivar" userId="da83bdda-499a-4427-8775-f375be339a54" providerId="ADAL" clId="{9A0F3B70-5B95-42C4-94C3-05567C69E257}" dt="2021-03-15T11:40:26.504" v="4498"/>
          <ac:spMkLst>
            <pc:docMk/>
            <pc:sldMk cId="3412211343" sldId="507"/>
            <ac:spMk id="76" creationId="{1ED39982-1BE1-4580-9A5F-F4641BF7F816}"/>
          </ac:spMkLst>
        </pc:spChg>
        <pc:spChg chg="mod">
          <ac:chgData name="Lars Ivar" userId="da83bdda-499a-4427-8775-f375be339a54" providerId="ADAL" clId="{9A0F3B70-5B95-42C4-94C3-05567C69E257}" dt="2021-03-15T11:40:26.504" v="4498"/>
          <ac:spMkLst>
            <pc:docMk/>
            <pc:sldMk cId="3412211343" sldId="507"/>
            <ac:spMk id="77" creationId="{8B0CC096-73CC-4C94-B692-0C70856500D2}"/>
          </ac:spMkLst>
        </pc:spChg>
        <pc:grpChg chg="del">
          <ac:chgData name="Lars Ivar" userId="da83bdda-499a-4427-8775-f375be339a54" providerId="ADAL" clId="{9A0F3B70-5B95-42C4-94C3-05567C69E257}" dt="2021-03-15T11:40:26.107" v="4497" actId="478"/>
          <ac:grpSpMkLst>
            <pc:docMk/>
            <pc:sldMk cId="3412211343" sldId="507"/>
            <ac:grpSpMk id="24" creationId="{7F4C5258-2B1C-4DB5-ACD6-F5BEEE60802A}"/>
          </ac:grpSpMkLst>
        </pc:grpChg>
        <pc:grpChg chg="del">
          <ac:chgData name="Lars Ivar" userId="da83bdda-499a-4427-8775-f375be339a54" providerId="ADAL" clId="{9A0F3B70-5B95-42C4-94C3-05567C69E257}" dt="2021-03-15T11:40:22.801" v="4494" actId="478"/>
          <ac:grpSpMkLst>
            <pc:docMk/>
            <pc:sldMk cId="3412211343" sldId="507"/>
            <ac:grpSpMk id="26" creationId="{57BFD401-A179-4663-BD56-80D5E75E4FBE}"/>
          </ac:grpSpMkLst>
        </pc:grpChg>
        <pc:grpChg chg="add del mod">
          <ac:chgData name="Lars Ivar" userId="da83bdda-499a-4427-8775-f375be339a54" providerId="ADAL" clId="{9A0F3B70-5B95-42C4-94C3-05567C69E257}" dt="2021-03-15T11:40:24.532" v="4496"/>
          <ac:grpSpMkLst>
            <pc:docMk/>
            <pc:sldMk cId="3412211343" sldId="507"/>
            <ac:grpSpMk id="35" creationId="{B654C2B0-9414-4853-8FD2-ED2AD13C065E}"/>
          </ac:grpSpMkLst>
        </pc:grpChg>
        <pc:grpChg chg="mod">
          <ac:chgData name="Lars Ivar" userId="da83bdda-499a-4427-8775-f375be339a54" providerId="ADAL" clId="{9A0F3B70-5B95-42C4-94C3-05567C69E257}" dt="2021-03-15T11:40:23.148" v="4495"/>
          <ac:grpSpMkLst>
            <pc:docMk/>
            <pc:sldMk cId="3412211343" sldId="507"/>
            <ac:grpSpMk id="36" creationId="{862C8F64-153A-4957-8684-622AB3719ECC}"/>
          </ac:grpSpMkLst>
        </pc:grpChg>
        <pc:grpChg chg="mod">
          <ac:chgData name="Lars Ivar" userId="da83bdda-499a-4427-8775-f375be339a54" providerId="ADAL" clId="{9A0F3B70-5B95-42C4-94C3-05567C69E257}" dt="2021-03-15T11:40:23.148" v="4495"/>
          <ac:grpSpMkLst>
            <pc:docMk/>
            <pc:sldMk cId="3412211343" sldId="507"/>
            <ac:grpSpMk id="37" creationId="{67A9BB6B-83BA-4003-8C96-FD848941CE6A}"/>
          </ac:grpSpMkLst>
        </pc:grpChg>
        <pc:grpChg chg="mod">
          <ac:chgData name="Lars Ivar" userId="da83bdda-499a-4427-8775-f375be339a54" providerId="ADAL" clId="{9A0F3B70-5B95-42C4-94C3-05567C69E257}" dt="2021-03-15T11:40:23.148" v="4495"/>
          <ac:grpSpMkLst>
            <pc:docMk/>
            <pc:sldMk cId="3412211343" sldId="507"/>
            <ac:grpSpMk id="38" creationId="{B929FD44-BA64-40B1-86CB-EA3A6E959720}"/>
          </ac:grpSpMkLst>
        </pc:grpChg>
        <pc:grpChg chg="mod">
          <ac:chgData name="Lars Ivar" userId="da83bdda-499a-4427-8775-f375be339a54" providerId="ADAL" clId="{9A0F3B70-5B95-42C4-94C3-05567C69E257}" dt="2021-03-15T11:40:23.148" v="4495"/>
          <ac:grpSpMkLst>
            <pc:docMk/>
            <pc:sldMk cId="3412211343" sldId="507"/>
            <ac:grpSpMk id="39" creationId="{39CAE359-AFC0-4714-936C-6AC26AE0F033}"/>
          </ac:grpSpMkLst>
        </pc:grpChg>
        <pc:grpChg chg="mod">
          <ac:chgData name="Lars Ivar" userId="da83bdda-499a-4427-8775-f375be339a54" providerId="ADAL" clId="{9A0F3B70-5B95-42C4-94C3-05567C69E257}" dt="2021-03-15T11:40:23.148" v="4495"/>
          <ac:grpSpMkLst>
            <pc:docMk/>
            <pc:sldMk cId="3412211343" sldId="507"/>
            <ac:grpSpMk id="40" creationId="{BECB6C8B-E3DA-4EC5-B9CB-D32AA8B06083}"/>
          </ac:grpSpMkLst>
        </pc:grpChg>
        <pc:grpChg chg="add mod">
          <ac:chgData name="Lars Ivar" userId="da83bdda-499a-4427-8775-f375be339a54" providerId="ADAL" clId="{9A0F3B70-5B95-42C4-94C3-05567C69E257}" dt="2021-03-15T11:40:26.504" v="4498"/>
          <ac:grpSpMkLst>
            <pc:docMk/>
            <pc:sldMk cId="3412211343" sldId="507"/>
            <ac:grpSpMk id="61" creationId="{32EDD923-3980-41D7-9161-7464D26D138C}"/>
          </ac:grpSpMkLst>
        </pc:grpChg>
        <pc:grpChg chg="mod">
          <ac:chgData name="Lars Ivar" userId="da83bdda-499a-4427-8775-f375be339a54" providerId="ADAL" clId="{9A0F3B70-5B95-42C4-94C3-05567C69E257}" dt="2021-03-15T11:40:26.504" v="4498"/>
          <ac:grpSpMkLst>
            <pc:docMk/>
            <pc:sldMk cId="3412211343" sldId="507"/>
            <ac:grpSpMk id="62" creationId="{82963B99-97B7-46E4-ACA5-5AFB9365F3D8}"/>
          </ac:grpSpMkLst>
        </pc:grpChg>
        <pc:grpChg chg="mod">
          <ac:chgData name="Lars Ivar" userId="da83bdda-499a-4427-8775-f375be339a54" providerId="ADAL" clId="{9A0F3B70-5B95-42C4-94C3-05567C69E257}" dt="2021-03-15T11:40:26.504" v="4498"/>
          <ac:grpSpMkLst>
            <pc:docMk/>
            <pc:sldMk cId="3412211343" sldId="507"/>
            <ac:grpSpMk id="63" creationId="{345A4D34-4EC6-4AEF-AEA8-98A3CC9B5C66}"/>
          </ac:grpSpMkLst>
        </pc:grpChg>
        <pc:grpChg chg="mod">
          <ac:chgData name="Lars Ivar" userId="da83bdda-499a-4427-8775-f375be339a54" providerId="ADAL" clId="{9A0F3B70-5B95-42C4-94C3-05567C69E257}" dt="2021-03-15T11:40:26.504" v="4498"/>
          <ac:grpSpMkLst>
            <pc:docMk/>
            <pc:sldMk cId="3412211343" sldId="507"/>
            <ac:grpSpMk id="65" creationId="{EBF08F41-247B-42D8-A86C-A5C2865086A2}"/>
          </ac:grpSpMkLst>
        </pc:grpChg>
        <pc:grpChg chg="mod">
          <ac:chgData name="Lars Ivar" userId="da83bdda-499a-4427-8775-f375be339a54" providerId="ADAL" clId="{9A0F3B70-5B95-42C4-94C3-05567C69E257}" dt="2021-03-15T11:40:26.504" v="4498"/>
          <ac:grpSpMkLst>
            <pc:docMk/>
            <pc:sldMk cId="3412211343" sldId="507"/>
            <ac:grpSpMk id="66" creationId="{98C98E90-1D1B-4C65-B0D1-7682117604A0}"/>
          </ac:grpSpMkLst>
        </pc:grpChg>
        <pc:grpChg chg="mod">
          <ac:chgData name="Lars Ivar" userId="da83bdda-499a-4427-8775-f375be339a54" providerId="ADAL" clId="{9A0F3B70-5B95-42C4-94C3-05567C69E257}" dt="2021-03-15T11:40:26.504" v="4498"/>
          <ac:grpSpMkLst>
            <pc:docMk/>
            <pc:sldMk cId="3412211343" sldId="507"/>
            <ac:grpSpMk id="67" creationId="{E5BCD2C1-C69E-4C17-8801-AABA40805CB4}"/>
          </ac:grpSpMkLst>
        </pc:grpChg>
        <pc:graphicFrameChg chg="del mod">
          <ac:chgData name="Lars Ivar" userId="da83bdda-499a-4427-8775-f375be339a54" providerId="ADAL" clId="{9A0F3B70-5B95-42C4-94C3-05567C69E257}" dt="2021-03-15T10:32:21.779" v="3397" actId="478"/>
          <ac:graphicFrameMkLst>
            <pc:docMk/>
            <pc:sldMk cId="3412211343" sldId="507"/>
            <ac:graphicFrameMk id="23" creationId="{FE090B57-3DAF-418A-96E3-69A353C08726}"/>
          </ac:graphicFrameMkLst>
        </pc:graphicFrameChg>
        <pc:picChg chg="del">
          <ac:chgData name="Lars Ivar" userId="da83bdda-499a-4427-8775-f375be339a54" providerId="ADAL" clId="{9A0F3B70-5B95-42C4-94C3-05567C69E257}" dt="2021-03-15T10:06:45.700" v="2765" actId="478"/>
          <ac:picMkLst>
            <pc:docMk/>
            <pc:sldMk cId="3412211343" sldId="507"/>
            <ac:picMk id="59" creationId="{6505C131-4341-4829-99A2-4F82ED85DC97}"/>
          </ac:picMkLst>
        </pc:picChg>
      </pc:sldChg>
      <pc:sldChg chg="addSp delSp modSp mod">
        <pc:chgData name="Lars Ivar" userId="da83bdda-499a-4427-8775-f375be339a54" providerId="ADAL" clId="{9A0F3B70-5B95-42C4-94C3-05567C69E257}" dt="2021-03-17T20:46:25.891" v="7528" actId="20577"/>
        <pc:sldMkLst>
          <pc:docMk/>
          <pc:sldMk cId="1200325548" sldId="508"/>
        </pc:sldMkLst>
        <pc:spChg chg="add mod">
          <ac:chgData name="Lars Ivar" userId="da83bdda-499a-4427-8775-f375be339a54" providerId="ADAL" clId="{9A0F3B70-5B95-42C4-94C3-05567C69E257}" dt="2021-03-17T20:45:38.041" v="7515" actId="20577"/>
          <ac:spMkLst>
            <pc:docMk/>
            <pc:sldMk cId="1200325548" sldId="508"/>
            <ac:spMk id="2" creationId="{C1B5896C-9A8F-4846-BBCC-B6603A751323}"/>
          </ac:spMkLst>
        </pc:spChg>
        <pc:spChg chg="add mod">
          <ac:chgData name="Lars Ivar" userId="da83bdda-499a-4427-8775-f375be339a54" providerId="ADAL" clId="{9A0F3B70-5B95-42C4-94C3-05567C69E257}" dt="2021-03-17T20:45:55.835" v="7521" actId="1076"/>
          <ac:spMkLst>
            <pc:docMk/>
            <pc:sldMk cId="1200325548" sldId="508"/>
            <ac:spMk id="3" creationId="{3066E3BB-45BF-4AD8-97C8-42E75169C565}"/>
          </ac:spMkLst>
        </pc:spChg>
        <pc:spChg chg="mod">
          <ac:chgData name="Lars Ivar" userId="da83bdda-499a-4427-8775-f375be339a54" providerId="ADAL" clId="{9A0F3B70-5B95-42C4-94C3-05567C69E257}" dt="2021-03-17T20:46:25.891" v="7528" actId="20577"/>
          <ac:spMkLst>
            <pc:docMk/>
            <pc:sldMk cId="1200325548" sldId="508"/>
            <ac:spMk id="7" creationId="{63991A79-2DF5-4987-8986-F8B6237BF2C9}"/>
          </ac:spMkLst>
        </pc:spChg>
        <pc:spChg chg="add mod">
          <ac:chgData name="Lars Ivar" userId="da83bdda-499a-4427-8775-f375be339a54" providerId="ADAL" clId="{9A0F3B70-5B95-42C4-94C3-05567C69E257}" dt="2021-03-17T20:46:01.006" v="7523" actId="1076"/>
          <ac:spMkLst>
            <pc:docMk/>
            <pc:sldMk cId="1200325548" sldId="508"/>
            <ac:spMk id="28" creationId="{07402004-FEA2-47A6-9FF6-023DD577AB00}"/>
          </ac:spMkLst>
        </pc:spChg>
        <pc:spChg chg="mod">
          <ac:chgData name="Lars Ivar" userId="da83bdda-499a-4427-8775-f375be339a54" providerId="ADAL" clId="{9A0F3B70-5B95-42C4-94C3-05567C69E257}" dt="2021-03-15T09:56:09.544" v="2715"/>
          <ac:spMkLst>
            <pc:docMk/>
            <pc:sldMk cId="1200325548" sldId="508"/>
            <ac:spMk id="31" creationId="{A98E2223-4650-4595-80FC-1D74C90E7C01}"/>
          </ac:spMkLst>
        </pc:spChg>
        <pc:spChg chg="mod">
          <ac:chgData name="Lars Ivar" userId="da83bdda-499a-4427-8775-f375be339a54" providerId="ADAL" clId="{9A0F3B70-5B95-42C4-94C3-05567C69E257}" dt="2021-03-15T09:56:09.544" v="2715"/>
          <ac:spMkLst>
            <pc:docMk/>
            <pc:sldMk cId="1200325548" sldId="508"/>
            <ac:spMk id="32" creationId="{1B2368B5-8257-4647-BDA1-105BEE4D5E8B}"/>
          </ac:spMkLst>
        </pc:spChg>
        <pc:spChg chg="mod">
          <ac:chgData name="Lars Ivar" userId="da83bdda-499a-4427-8775-f375be339a54" providerId="ADAL" clId="{9A0F3B70-5B95-42C4-94C3-05567C69E257}" dt="2021-03-15T09:56:09.544" v="2715"/>
          <ac:spMkLst>
            <pc:docMk/>
            <pc:sldMk cId="1200325548" sldId="508"/>
            <ac:spMk id="33" creationId="{F59C047A-A03D-4EC8-AFE3-677FD145BFAC}"/>
          </ac:spMkLst>
        </pc:spChg>
        <pc:spChg chg="mod">
          <ac:chgData name="Lars Ivar" userId="da83bdda-499a-4427-8775-f375be339a54" providerId="ADAL" clId="{9A0F3B70-5B95-42C4-94C3-05567C69E257}" dt="2021-03-15T09:56:09.544" v="2715"/>
          <ac:spMkLst>
            <pc:docMk/>
            <pc:sldMk cId="1200325548" sldId="508"/>
            <ac:spMk id="34" creationId="{E02156F6-80AA-4E09-B324-1B36CF2FF111}"/>
          </ac:spMkLst>
        </pc:spChg>
        <pc:spChg chg="mod">
          <ac:chgData name="Lars Ivar" userId="da83bdda-499a-4427-8775-f375be339a54" providerId="ADAL" clId="{9A0F3B70-5B95-42C4-94C3-05567C69E257}" dt="2021-03-15T09:56:09.544" v="2715"/>
          <ac:spMkLst>
            <pc:docMk/>
            <pc:sldMk cId="1200325548" sldId="508"/>
            <ac:spMk id="53" creationId="{CF1F5994-F799-4CE4-A1DD-947F649F2C44}"/>
          </ac:spMkLst>
        </pc:spChg>
        <pc:spChg chg="mod">
          <ac:chgData name="Lars Ivar" userId="da83bdda-499a-4427-8775-f375be339a54" providerId="ADAL" clId="{9A0F3B70-5B95-42C4-94C3-05567C69E257}" dt="2021-03-15T09:56:09.544" v="2715"/>
          <ac:spMkLst>
            <pc:docMk/>
            <pc:sldMk cId="1200325548" sldId="508"/>
            <ac:spMk id="54" creationId="{C51CEA12-7CD4-4863-8FFC-9F4759699043}"/>
          </ac:spMkLst>
        </pc:spChg>
        <pc:spChg chg="mod">
          <ac:chgData name="Lars Ivar" userId="da83bdda-499a-4427-8775-f375be339a54" providerId="ADAL" clId="{9A0F3B70-5B95-42C4-94C3-05567C69E257}" dt="2021-03-15T09:56:09.544" v="2715"/>
          <ac:spMkLst>
            <pc:docMk/>
            <pc:sldMk cId="1200325548" sldId="508"/>
            <ac:spMk id="55" creationId="{02FB631D-8825-4891-AAE9-C8DDE91DB1F6}"/>
          </ac:spMkLst>
        </pc:spChg>
        <pc:spChg chg="mod">
          <ac:chgData name="Lars Ivar" userId="da83bdda-499a-4427-8775-f375be339a54" providerId="ADAL" clId="{9A0F3B70-5B95-42C4-94C3-05567C69E257}" dt="2021-03-15T09:56:09.544" v="2715"/>
          <ac:spMkLst>
            <pc:docMk/>
            <pc:sldMk cId="1200325548" sldId="508"/>
            <ac:spMk id="56" creationId="{AE85EDD4-F54C-443D-8858-53C2F1B23B45}"/>
          </ac:spMkLst>
        </pc:spChg>
        <pc:spChg chg="mod">
          <ac:chgData name="Lars Ivar" userId="da83bdda-499a-4427-8775-f375be339a54" providerId="ADAL" clId="{9A0F3B70-5B95-42C4-94C3-05567C69E257}" dt="2021-03-15T09:56:09.544" v="2715"/>
          <ac:spMkLst>
            <pc:docMk/>
            <pc:sldMk cId="1200325548" sldId="508"/>
            <ac:spMk id="57" creationId="{E1500D47-707E-483D-BA66-7B6E3BA320FB}"/>
          </ac:spMkLst>
        </pc:spChg>
        <pc:spChg chg="mod">
          <ac:chgData name="Lars Ivar" userId="da83bdda-499a-4427-8775-f375be339a54" providerId="ADAL" clId="{9A0F3B70-5B95-42C4-94C3-05567C69E257}" dt="2021-03-15T09:56:09.544" v="2715"/>
          <ac:spMkLst>
            <pc:docMk/>
            <pc:sldMk cId="1200325548" sldId="508"/>
            <ac:spMk id="58" creationId="{0DE96398-B233-43BA-B27F-C3CFC4D6D2B0}"/>
          </ac:spMkLst>
        </pc:spChg>
        <pc:spChg chg="mod">
          <ac:chgData name="Lars Ivar" userId="da83bdda-499a-4427-8775-f375be339a54" providerId="ADAL" clId="{9A0F3B70-5B95-42C4-94C3-05567C69E257}" dt="2021-03-15T11:40:08.840" v="4491"/>
          <ac:spMkLst>
            <pc:docMk/>
            <pc:sldMk cId="1200325548" sldId="508"/>
            <ac:spMk id="66" creationId="{D32626AC-F62F-4E35-88BA-0F6F16C64FDD}"/>
          </ac:spMkLst>
        </pc:spChg>
        <pc:spChg chg="mod">
          <ac:chgData name="Lars Ivar" userId="da83bdda-499a-4427-8775-f375be339a54" providerId="ADAL" clId="{9A0F3B70-5B95-42C4-94C3-05567C69E257}" dt="2021-03-15T11:40:08.840" v="4491"/>
          <ac:spMkLst>
            <pc:docMk/>
            <pc:sldMk cId="1200325548" sldId="508"/>
            <ac:spMk id="67" creationId="{BC75F9B2-2A3F-4B0C-B750-B59BDD6C0497}"/>
          </ac:spMkLst>
        </pc:spChg>
        <pc:spChg chg="mod">
          <ac:chgData name="Lars Ivar" userId="da83bdda-499a-4427-8775-f375be339a54" providerId="ADAL" clId="{9A0F3B70-5B95-42C4-94C3-05567C69E257}" dt="2021-03-15T11:40:08.840" v="4491"/>
          <ac:spMkLst>
            <pc:docMk/>
            <pc:sldMk cId="1200325548" sldId="508"/>
            <ac:spMk id="68" creationId="{0C9291C6-6566-4AA5-8DFF-21F93F6B5CA6}"/>
          </ac:spMkLst>
        </pc:spChg>
        <pc:spChg chg="mod">
          <ac:chgData name="Lars Ivar" userId="da83bdda-499a-4427-8775-f375be339a54" providerId="ADAL" clId="{9A0F3B70-5B95-42C4-94C3-05567C69E257}" dt="2021-03-15T11:40:08.840" v="4491"/>
          <ac:spMkLst>
            <pc:docMk/>
            <pc:sldMk cId="1200325548" sldId="508"/>
            <ac:spMk id="69" creationId="{06CA3B52-A7D4-49A4-9F1C-2F3743A45AD4}"/>
          </ac:spMkLst>
        </pc:spChg>
        <pc:spChg chg="mod">
          <ac:chgData name="Lars Ivar" userId="da83bdda-499a-4427-8775-f375be339a54" providerId="ADAL" clId="{9A0F3B70-5B95-42C4-94C3-05567C69E257}" dt="2021-03-15T11:40:08.840" v="4491"/>
          <ac:spMkLst>
            <pc:docMk/>
            <pc:sldMk cId="1200325548" sldId="508"/>
            <ac:spMk id="70" creationId="{A33F245B-7D60-4C69-A21F-EB0605577713}"/>
          </ac:spMkLst>
        </pc:spChg>
        <pc:spChg chg="mod">
          <ac:chgData name="Lars Ivar" userId="da83bdda-499a-4427-8775-f375be339a54" providerId="ADAL" clId="{9A0F3B70-5B95-42C4-94C3-05567C69E257}" dt="2021-03-15T11:40:08.840" v="4491"/>
          <ac:spMkLst>
            <pc:docMk/>
            <pc:sldMk cId="1200325548" sldId="508"/>
            <ac:spMk id="71" creationId="{9231C8BC-28DF-429A-B87A-26E0D8A19BC4}"/>
          </ac:spMkLst>
        </pc:spChg>
        <pc:spChg chg="mod">
          <ac:chgData name="Lars Ivar" userId="da83bdda-499a-4427-8775-f375be339a54" providerId="ADAL" clId="{9A0F3B70-5B95-42C4-94C3-05567C69E257}" dt="2021-03-15T11:40:08.840" v="4491"/>
          <ac:spMkLst>
            <pc:docMk/>
            <pc:sldMk cId="1200325548" sldId="508"/>
            <ac:spMk id="72" creationId="{0368EA97-9005-41F9-899F-C9D87F993F50}"/>
          </ac:spMkLst>
        </pc:spChg>
        <pc:spChg chg="mod">
          <ac:chgData name="Lars Ivar" userId="da83bdda-499a-4427-8775-f375be339a54" providerId="ADAL" clId="{9A0F3B70-5B95-42C4-94C3-05567C69E257}" dt="2021-03-15T11:40:08.840" v="4491"/>
          <ac:spMkLst>
            <pc:docMk/>
            <pc:sldMk cId="1200325548" sldId="508"/>
            <ac:spMk id="73" creationId="{8D68751A-94A2-4846-867F-F9848760AA9B}"/>
          </ac:spMkLst>
        </pc:spChg>
        <pc:spChg chg="mod">
          <ac:chgData name="Lars Ivar" userId="da83bdda-499a-4427-8775-f375be339a54" providerId="ADAL" clId="{9A0F3B70-5B95-42C4-94C3-05567C69E257}" dt="2021-03-15T11:40:08.840" v="4491"/>
          <ac:spMkLst>
            <pc:docMk/>
            <pc:sldMk cId="1200325548" sldId="508"/>
            <ac:spMk id="74" creationId="{3BCE5ADE-1F67-43A1-8909-731CCC40B980}"/>
          </ac:spMkLst>
        </pc:spChg>
        <pc:spChg chg="mod">
          <ac:chgData name="Lars Ivar" userId="da83bdda-499a-4427-8775-f375be339a54" providerId="ADAL" clId="{9A0F3B70-5B95-42C4-94C3-05567C69E257}" dt="2021-03-15T11:40:08.840" v="4491"/>
          <ac:spMkLst>
            <pc:docMk/>
            <pc:sldMk cId="1200325548" sldId="508"/>
            <ac:spMk id="75" creationId="{7D3AF356-D76D-4619-B5F9-9253DA8D80EF}"/>
          </ac:spMkLst>
        </pc:spChg>
        <pc:grpChg chg="del">
          <ac:chgData name="Lars Ivar" userId="da83bdda-499a-4427-8775-f375be339a54" providerId="ADAL" clId="{9A0F3B70-5B95-42C4-94C3-05567C69E257}" dt="2021-03-15T09:56:02.800" v="2714" actId="478"/>
          <ac:grpSpMkLst>
            <pc:docMk/>
            <pc:sldMk cId="1200325548" sldId="508"/>
            <ac:grpSpMk id="2" creationId="{FB0E3E3F-4D6E-4365-B8D1-477E1C1440EC}"/>
          </ac:grpSpMkLst>
        </pc:grpChg>
        <pc:grpChg chg="add del mod">
          <ac:chgData name="Lars Ivar" userId="da83bdda-499a-4427-8775-f375be339a54" providerId="ADAL" clId="{9A0F3B70-5B95-42C4-94C3-05567C69E257}" dt="2021-03-15T11:40:08.528" v="4490" actId="478"/>
          <ac:grpSpMkLst>
            <pc:docMk/>
            <pc:sldMk cId="1200325548" sldId="508"/>
            <ac:grpSpMk id="25" creationId="{FE3BB12A-A5BE-49D9-88B0-994EE364E166}"/>
          </ac:grpSpMkLst>
        </pc:grpChg>
        <pc:grpChg chg="mod">
          <ac:chgData name="Lars Ivar" userId="da83bdda-499a-4427-8775-f375be339a54" providerId="ADAL" clId="{9A0F3B70-5B95-42C4-94C3-05567C69E257}" dt="2021-03-15T09:56:09.544" v="2715"/>
          <ac:grpSpMkLst>
            <pc:docMk/>
            <pc:sldMk cId="1200325548" sldId="508"/>
            <ac:grpSpMk id="26" creationId="{0858033D-1693-4304-BEB4-8D902C449BB5}"/>
          </ac:grpSpMkLst>
        </pc:grpChg>
        <pc:grpChg chg="mod">
          <ac:chgData name="Lars Ivar" userId="da83bdda-499a-4427-8775-f375be339a54" providerId="ADAL" clId="{9A0F3B70-5B95-42C4-94C3-05567C69E257}" dt="2021-03-15T09:56:09.544" v="2715"/>
          <ac:grpSpMkLst>
            <pc:docMk/>
            <pc:sldMk cId="1200325548" sldId="508"/>
            <ac:grpSpMk id="27" creationId="{B3FA3E05-E960-4EC7-A836-554583FB5B36}"/>
          </ac:grpSpMkLst>
        </pc:grpChg>
        <pc:grpChg chg="mod">
          <ac:chgData name="Lars Ivar" userId="da83bdda-499a-4427-8775-f375be339a54" providerId="ADAL" clId="{9A0F3B70-5B95-42C4-94C3-05567C69E257}" dt="2021-03-15T09:56:09.544" v="2715"/>
          <ac:grpSpMkLst>
            <pc:docMk/>
            <pc:sldMk cId="1200325548" sldId="508"/>
            <ac:grpSpMk id="28" creationId="{C2CF6B0A-E5B7-406C-992C-80D876266210}"/>
          </ac:grpSpMkLst>
        </pc:grpChg>
        <pc:grpChg chg="mod">
          <ac:chgData name="Lars Ivar" userId="da83bdda-499a-4427-8775-f375be339a54" providerId="ADAL" clId="{9A0F3B70-5B95-42C4-94C3-05567C69E257}" dt="2021-03-15T09:56:09.544" v="2715"/>
          <ac:grpSpMkLst>
            <pc:docMk/>
            <pc:sldMk cId="1200325548" sldId="508"/>
            <ac:grpSpMk id="29" creationId="{FB721734-C56F-429B-8810-3F7F2F5F36E0}"/>
          </ac:grpSpMkLst>
        </pc:grpChg>
        <pc:grpChg chg="mod">
          <ac:chgData name="Lars Ivar" userId="da83bdda-499a-4427-8775-f375be339a54" providerId="ADAL" clId="{9A0F3B70-5B95-42C4-94C3-05567C69E257}" dt="2021-03-15T09:56:09.544" v="2715"/>
          <ac:grpSpMkLst>
            <pc:docMk/>
            <pc:sldMk cId="1200325548" sldId="508"/>
            <ac:grpSpMk id="30" creationId="{F4B1CB29-F6AB-42A6-B02E-0C274872F05A}"/>
          </ac:grpSpMkLst>
        </pc:grpChg>
        <pc:grpChg chg="add mod">
          <ac:chgData name="Lars Ivar" userId="da83bdda-499a-4427-8775-f375be339a54" providerId="ADAL" clId="{9A0F3B70-5B95-42C4-94C3-05567C69E257}" dt="2021-03-15T11:40:08.840" v="4491"/>
          <ac:grpSpMkLst>
            <pc:docMk/>
            <pc:sldMk cId="1200325548" sldId="508"/>
            <ac:grpSpMk id="59" creationId="{232DDD3C-0A12-42D0-8927-46002614CB94}"/>
          </ac:grpSpMkLst>
        </pc:grpChg>
        <pc:grpChg chg="mod">
          <ac:chgData name="Lars Ivar" userId="da83bdda-499a-4427-8775-f375be339a54" providerId="ADAL" clId="{9A0F3B70-5B95-42C4-94C3-05567C69E257}" dt="2021-03-15T11:40:08.840" v="4491"/>
          <ac:grpSpMkLst>
            <pc:docMk/>
            <pc:sldMk cId="1200325548" sldId="508"/>
            <ac:grpSpMk id="60" creationId="{16B80B13-13B7-4400-BDE5-3D2D68C8E795}"/>
          </ac:grpSpMkLst>
        </pc:grpChg>
        <pc:grpChg chg="mod">
          <ac:chgData name="Lars Ivar" userId="da83bdda-499a-4427-8775-f375be339a54" providerId="ADAL" clId="{9A0F3B70-5B95-42C4-94C3-05567C69E257}" dt="2021-03-15T11:40:08.840" v="4491"/>
          <ac:grpSpMkLst>
            <pc:docMk/>
            <pc:sldMk cId="1200325548" sldId="508"/>
            <ac:grpSpMk id="61" creationId="{E1AEC48C-C505-4D36-A61C-56B2A7AD80FF}"/>
          </ac:grpSpMkLst>
        </pc:grpChg>
        <pc:grpChg chg="mod">
          <ac:chgData name="Lars Ivar" userId="da83bdda-499a-4427-8775-f375be339a54" providerId="ADAL" clId="{9A0F3B70-5B95-42C4-94C3-05567C69E257}" dt="2021-03-15T11:40:08.840" v="4491"/>
          <ac:grpSpMkLst>
            <pc:docMk/>
            <pc:sldMk cId="1200325548" sldId="508"/>
            <ac:grpSpMk id="62" creationId="{9F85BCE4-5FF0-4141-A33A-A17F8C882460}"/>
          </ac:grpSpMkLst>
        </pc:grpChg>
        <pc:grpChg chg="mod">
          <ac:chgData name="Lars Ivar" userId="da83bdda-499a-4427-8775-f375be339a54" providerId="ADAL" clId="{9A0F3B70-5B95-42C4-94C3-05567C69E257}" dt="2021-03-15T11:40:08.840" v="4491"/>
          <ac:grpSpMkLst>
            <pc:docMk/>
            <pc:sldMk cId="1200325548" sldId="508"/>
            <ac:grpSpMk id="63" creationId="{6B590CCA-1278-4D36-B0A5-87060EC32FC9}"/>
          </ac:grpSpMkLst>
        </pc:grpChg>
        <pc:grpChg chg="mod">
          <ac:chgData name="Lars Ivar" userId="da83bdda-499a-4427-8775-f375be339a54" providerId="ADAL" clId="{9A0F3B70-5B95-42C4-94C3-05567C69E257}" dt="2021-03-15T11:40:08.840" v="4491"/>
          <ac:grpSpMkLst>
            <pc:docMk/>
            <pc:sldMk cId="1200325548" sldId="508"/>
            <ac:grpSpMk id="65" creationId="{08C746A7-86B1-4BEB-B8D6-FBF78C16B80F}"/>
          </ac:grpSpMkLst>
        </pc:grpChg>
        <pc:picChg chg="mod">
          <ac:chgData name="Lars Ivar" userId="da83bdda-499a-4427-8775-f375be339a54" providerId="ADAL" clId="{9A0F3B70-5B95-42C4-94C3-05567C69E257}" dt="2021-03-17T20:45:58.292" v="7522" actId="1076"/>
          <ac:picMkLst>
            <pc:docMk/>
            <pc:sldMk cId="1200325548" sldId="508"/>
            <ac:picMk id="5" creationId="{E51372FC-03ED-42FE-95BA-2C4592C38623}"/>
          </ac:picMkLst>
        </pc:picChg>
        <pc:picChg chg="mod">
          <ac:chgData name="Lars Ivar" userId="da83bdda-499a-4427-8775-f375be339a54" providerId="ADAL" clId="{9A0F3B70-5B95-42C4-94C3-05567C69E257}" dt="2021-03-17T20:46:18.929" v="7525" actId="1076"/>
          <ac:picMkLst>
            <pc:docMk/>
            <pc:sldMk cId="1200325548" sldId="508"/>
            <ac:picMk id="24" creationId="{9BF0C40F-8BBA-4071-9E51-3A81121FDA83}"/>
          </ac:picMkLst>
        </pc:picChg>
      </pc:sldChg>
      <pc:sldChg chg="modSp mod">
        <pc:chgData name="Lars Ivar" userId="da83bdda-499a-4427-8775-f375be339a54" providerId="ADAL" clId="{9A0F3B70-5B95-42C4-94C3-05567C69E257}" dt="2021-03-17T20:47:02.279" v="7533" actId="403"/>
        <pc:sldMkLst>
          <pc:docMk/>
          <pc:sldMk cId="2906686999" sldId="509"/>
        </pc:sldMkLst>
        <pc:spChg chg="mod">
          <ac:chgData name="Lars Ivar" userId="da83bdda-499a-4427-8775-f375be339a54" providerId="ADAL" clId="{9A0F3B70-5B95-42C4-94C3-05567C69E257}" dt="2021-03-17T20:47:02.279" v="7533" actId="403"/>
          <ac:spMkLst>
            <pc:docMk/>
            <pc:sldMk cId="2906686999" sldId="509"/>
            <ac:spMk id="7" creationId="{63991A79-2DF5-4987-8986-F8B6237BF2C9}"/>
          </ac:spMkLst>
        </pc:spChg>
        <pc:spChg chg="mod">
          <ac:chgData name="Lars Ivar" userId="da83bdda-499a-4427-8775-f375be339a54" providerId="ADAL" clId="{9A0F3B70-5B95-42C4-94C3-05567C69E257}" dt="2021-03-15T11:39:36.959" v="4481" actId="207"/>
          <ac:spMkLst>
            <pc:docMk/>
            <pc:sldMk cId="2906686999" sldId="509"/>
            <ac:spMk id="53" creationId="{B0BA705D-8895-4578-BD31-102C5F9F2F09}"/>
          </ac:spMkLst>
        </pc:spChg>
        <pc:spChg chg="mod">
          <ac:chgData name="Lars Ivar" userId="da83bdda-499a-4427-8775-f375be339a54" providerId="ADAL" clId="{9A0F3B70-5B95-42C4-94C3-05567C69E257}" dt="2021-03-15T11:39:32.789" v="4480" actId="207"/>
          <ac:spMkLst>
            <pc:docMk/>
            <pc:sldMk cId="2906686999" sldId="509"/>
            <ac:spMk id="54" creationId="{5C99A416-8F6F-46B8-8D2F-27C80A0120E2}"/>
          </ac:spMkLst>
        </pc:spChg>
      </pc:sldChg>
      <pc:sldChg chg="addSp delSp modSp mod">
        <pc:chgData name="Lars Ivar" userId="da83bdda-499a-4427-8775-f375be339a54" providerId="ADAL" clId="{9A0F3B70-5B95-42C4-94C3-05567C69E257}" dt="2021-03-17T20:28:14.261" v="6975" actId="403"/>
        <pc:sldMkLst>
          <pc:docMk/>
          <pc:sldMk cId="2505317772" sldId="510"/>
        </pc:sldMkLst>
        <pc:spChg chg="mod">
          <ac:chgData name="Lars Ivar" userId="da83bdda-499a-4427-8775-f375be339a54" providerId="ADAL" clId="{9A0F3B70-5B95-42C4-94C3-05567C69E257}" dt="2021-03-17T20:28:14.261" v="6975" actId="403"/>
          <ac:spMkLst>
            <pc:docMk/>
            <pc:sldMk cId="2505317772" sldId="510"/>
            <ac:spMk id="7" creationId="{63991A79-2DF5-4987-8986-F8B6237BF2C9}"/>
          </ac:spMkLst>
        </pc:spChg>
        <pc:spChg chg="mod">
          <ac:chgData name="Lars Ivar" userId="da83bdda-499a-4427-8775-f375be339a54" providerId="ADAL" clId="{9A0F3B70-5B95-42C4-94C3-05567C69E257}" dt="2021-03-15T09:56:17.102" v="2718"/>
          <ac:spMkLst>
            <pc:docMk/>
            <pc:sldMk cId="2505317772" sldId="510"/>
            <ac:spMk id="29" creationId="{9B4FFDCC-0472-47EE-B415-80306F00707F}"/>
          </ac:spMkLst>
        </pc:spChg>
        <pc:spChg chg="mod">
          <ac:chgData name="Lars Ivar" userId="da83bdda-499a-4427-8775-f375be339a54" providerId="ADAL" clId="{9A0F3B70-5B95-42C4-94C3-05567C69E257}" dt="2021-03-15T09:56:17.102" v="2718"/>
          <ac:spMkLst>
            <pc:docMk/>
            <pc:sldMk cId="2505317772" sldId="510"/>
            <ac:spMk id="30" creationId="{36A89225-D5D3-438D-8180-1F61D3E9491A}"/>
          </ac:spMkLst>
        </pc:spChg>
        <pc:spChg chg="mod">
          <ac:chgData name="Lars Ivar" userId="da83bdda-499a-4427-8775-f375be339a54" providerId="ADAL" clId="{9A0F3B70-5B95-42C4-94C3-05567C69E257}" dt="2021-03-15T09:56:17.102" v="2718"/>
          <ac:spMkLst>
            <pc:docMk/>
            <pc:sldMk cId="2505317772" sldId="510"/>
            <ac:spMk id="31" creationId="{DC0FA2B0-A907-4EB5-827E-65175F100803}"/>
          </ac:spMkLst>
        </pc:spChg>
        <pc:spChg chg="mod">
          <ac:chgData name="Lars Ivar" userId="da83bdda-499a-4427-8775-f375be339a54" providerId="ADAL" clId="{9A0F3B70-5B95-42C4-94C3-05567C69E257}" dt="2021-03-15T09:56:17.102" v="2718"/>
          <ac:spMkLst>
            <pc:docMk/>
            <pc:sldMk cId="2505317772" sldId="510"/>
            <ac:spMk id="32" creationId="{10189BAB-9115-415D-A430-A5D604EF47A9}"/>
          </ac:spMkLst>
        </pc:spChg>
        <pc:spChg chg="mod">
          <ac:chgData name="Lars Ivar" userId="da83bdda-499a-4427-8775-f375be339a54" providerId="ADAL" clId="{9A0F3B70-5B95-42C4-94C3-05567C69E257}" dt="2021-03-15T09:56:17.102" v="2718"/>
          <ac:spMkLst>
            <pc:docMk/>
            <pc:sldMk cId="2505317772" sldId="510"/>
            <ac:spMk id="33" creationId="{B8A0DFBE-8BC6-4AA2-9374-BE72C717C809}"/>
          </ac:spMkLst>
        </pc:spChg>
        <pc:spChg chg="mod">
          <ac:chgData name="Lars Ivar" userId="da83bdda-499a-4427-8775-f375be339a54" providerId="ADAL" clId="{9A0F3B70-5B95-42C4-94C3-05567C69E257}" dt="2021-03-15T09:56:17.102" v="2718"/>
          <ac:spMkLst>
            <pc:docMk/>
            <pc:sldMk cId="2505317772" sldId="510"/>
            <ac:spMk id="34" creationId="{08937FAF-6579-4DFF-AA75-AC62B5BC2118}"/>
          </ac:spMkLst>
        </pc:spChg>
        <pc:spChg chg="mod">
          <ac:chgData name="Lars Ivar" userId="da83bdda-499a-4427-8775-f375be339a54" providerId="ADAL" clId="{9A0F3B70-5B95-42C4-94C3-05567C69E257}" dt="2021-03-15T09:56:17.102" v="2718"/>
          <ac:spMkLst>
            <pc:docMk/>
            <pc:sldMk cId="2505317772" sldId="510"/>
            <ac:spMk id="53" creationId="{B8BC0B93-DCDC-46AE-8E86-D2891477EA57}"/>
          </ac:spMkLst>
        </pc:spChg>
        <pc:spChg chg="mod">
          <ac:chgData name="Lars Ivar" userId="da83bdda-499a-4427-8775-f375be339a54" providerId="ADAL" clId="{9A0F3B70-5B95-42C4-94C3-05567C69E257}" dt="2021-03-15T09:56:17.102" v="2718"/>
          <ac:spMkLst>
            <pc:docMk/>
            <pc:sldMk cId="2505317772" sldId="510"/>
            <ac:spMk id="54" creationId="{4F5870A9-AB33-4F41-B924-3D4B26828699}"/>
          </ac:spMkLst>
        </pc:spChg>
        <pc:spChg chg="mod">
          <ac:chgData name="Lars Ivar" userId="da83bdda-499a-4427-8775-f375be339a54" providerId="ADAL" clId="{9A0F3B70-5B95-42C4-94C3-05567C69E257}" dt="2021-03-15T09:57:27.774" v="2733" actId="207"/>
          <ac:spMkLst>
            <pc:docMk/>
            <pc:sldMk cId="2505317772" sldId="510"/>
            <ac:spMk id="55" creationId="{7F28A665-E4FE-4CA9-8421-B05483F57DF2}"/>
          </ac:spMkLst>
        </pc:spChg>
        <pc:spChg chg="mod">
          <ac:chgData name="Lars Ivar" userId="da83bdda-499a-4427-8775-f375be339a54" providerId="ADAL" clId="{9A0F3B70-5B95-42C4-94C3-05567C69E257}" dt="2021-03-15T09:57:23.052" v="2732" actId="207"/>
          <ac:spMkLst>
            <pc:docMk/>
            <pc:sldMk cId="2505317772" sldId="510"/>
            <ac:spMk id="56" creationId="{AF1D0A57-4255-48A9-95EF-E3B4A942C3B9}"/>
          </ac:spMkLst>
        </pc:spChg>
        <pc:grpChg chg="del">
          <ac:chgData name="Lars Ivar" userId="da83bdda-499a-4427-8775-f375be339a54" providerId="ADAL" clId="{9A0F3B70-5B95-42C4-94C3-05567C69E257}" dt="2021-03-15T09:56:14.653" v="2717" actId="478"/>
          <ac:grpSpMkLst>
            <pc:docMk/>
            <pc:sldMk cId="2505317772" sldId="510"/>
            <ac:grpSpMk id="2" creationId="{FB0E3E3F-4D6E-4365-B8D1-477E1C1440EC}"/>
          </ac:grpSpMkLst>
        </pc:grpChg>
        <pc:grpChg chg="add mod">
          <ac:chgData name="Lars Ivar" userId="da83bdda-499a-4427-8775-f375be339a54" providerId="ADAL" clId="{9A0F3B70-5B95-42C4-94C3-05567C69E257}" dt="2021-03-15T09:56:17.102" v="2718"/>
          <ac:grpSpMkLst>
            <pc:docMk/>
            <pc:sldMk cId="2505317772" sldId="510"/>
            <ac:grpSpMk id="23" creationId="{F0780E42-1656-4205-A433-4AF6F91DCC99}"/>
          </ac:grpSpMkLst>
        </pc:grpChg>
        <pc:grpChg chg="mod">
          <ac:chgData name="Lars Ivar" userId="da83bdda-499a-4427-8775-f375be339a54" providerId="ADAL" clId="{9A0F3B70-5B95-42C4-94C3-05567C69E257}" dt="2021-03-15T09:56:17.102" v="2718"/>
          <ac:grpSpMkLst>
            <pc:docMk/>
            <pc:sldMk cId="2505317772" sldId="510"/>
            <ac:grpSpMk id="24" creationId="{F4B9860A-6807-46CC-BF16-0F3119E7CA79}"/>
          </ac:grpSpMkLst>
        </pc:grpChg>
        <pc:grpChg chg="mod">
          <ac:chgData name="Lars Ivar" userId="da83bdda-499a-4427-8775-f375be339a54" providerId="ADAL" clId="{9A0F3B70-5B95-42C4-94C3-05567C69E257}" dt="2021-03-15T09:56:17.102" v="2718"/>
          <ac:grpSpMkLst>
            <pc:docMk/>
            <pc:sldMk cId="2505317772" sldId="510"/>
            <ac:grpSpMk id="25" creationId="{B5234394-6807-4485-AD43-F6BB17EE2767}"/>
          </ac:grpSpMkLst>
        </pc:grpChg>
        <pc:grpChg chg="mod">
          <ac:chgData name="Lars Ivar" userId="da83bdda-499a-4427-8775-f375be339a54" providerId="ADAL" clId="{9A0F3B70-5B95-42C4-94C3-05567C69E257}" dt="2021-03-15T09:56:17.102" v="2718"/>
          <ac:grpSpMkLst>
            <pc:docMk/>
            <pc:sldMk cId="2505317772" sldId="510"/>
            <ac:grpSpMk id="26" creationId="{C66D0068-E459-4048-994A-125554091AC8}"/>
          </ac:grpSpMkLst>
        </pc:grpChg>
        <pc:grpChg chg="mod">
          <ac:chgData name="Lars Ivar" userId="da83bdda-499a-4427-8775-f375be339a54" providerId="ADAL" clId="{9A0F3B70-5B95-42C4-94C3-05567C69E257}" dt="2021-03-15T09:56:17.102" v="2718"/>
          <ac:grpSpMkLst>
            <pc:docMk/>
            <pc:sldMk cId="2505317772" sldId="510"/>
            <ac:grpSpMk id="27" creationId="{5BED516C-045A-4009-ADDF-5C526EBD0909}"/>
          </ac:grpSpMkLst>
        </pc:grpChg>
        <pc:grpChg chg="mod">
          <ac:chgData name="Lars Ivar" userId="da83bdda-499a-4427-8775-f375be339a54" providerId="ADAL" clId="{9A0F3B70-5B95-42C4-94C3-05567C69E257}" dt="2021-03-15T09:56:17.102" v="2718"/>
          <ac:grpSpMkLst>
            <pc:docMk/>
            <pc:sldMk cId="2505317772" sldId="510"/>
            <ac:grpSpMk id="28" creationId="{FB08D731-CFC9-4425-9D01-9B4B1A157EF7}"/>
          </ac:grpSpMkLst>
        </pc:grpChg>
      </pc:sldChg>
      <pc:sldChg chg="addSp delSp modSp mod modNotesTx">
        <pc:chgData name="Lars Ivar" userId="da83bdda-499a-4427-8775-f375be339a54" providerId="ADAL" clId="{9A0F3B70-5B95-42C4-94C3-05567C69E257}" dt="2021-03-18T16:50:42.417" v="9426" actId="20577"/>
        <pc:sldMkLst>
          <pc:docMk/>
          <pc:sldMk cId="3381423696" sldId="511"/>
        </pc:sldMkLst>
        <pc:spChg chg="mod">
          <ac:chgData name="Lars Ivar" userId="da83bdda-499a-4427-8775-f375be339a54" providerId="ADAL" clId="{9A0F3B70-5B95-42C4-94C3-05567C69E257}" dt="2021-03-15T09:57:46.875" v="2737" actId="207"/>
          <ac:spMkLst>
            <pc:docMk/>
            <pc:sldMk cId="3381423696" sldId="511"/>
            <ac:spMk id="29" creationId="{C6E975AD-2505-4167-A9EC-C5FB9DE84E21}"/>
          </ac:spMkLst>
        </pc:spChg>
        <pc:spChg chg="mod">
          <ac:chgData name="Lars Ivar" userId="da83bdda-499a-4427-8775-f375be339a54" providerId="ADAL" clId="{9A0F3B70-5B95-42C4-94C3-05567C69E257}" dt="2021-03-15T09:57:46.875" v="2737" actId="207"/>
          <ac:spMkLst>
            <pc:docMk/>
            <pc:sldMk cId="3381423696" sldId="511"/>
            <ac:spMk id="30" creationId="{EDD8C147-5980-42EF-8374-8F24D63F4E82}"/>
          </ac:spMkLst>
        </pc:spChg>
        <pc:spChg chg="mod">
          <ac:chgData name="Lars Ivar" userId="da83bdda-499a-4427-8775-f375be339a54" providerId="ADAL" clId="{9A0F3B70-5B95-42C4-94C3-05567C69E257}" dt="2021-03-15T09:57:46.875" v="2737" actId="207"/>
          <ac:spMkLst>
            <pc:docMk/>
            <pc:sldMk cId="3381423696" sldId="511"/>
            <ac:spMk id="31" creationId="{3888274C-86B1-44F6-9376-338E08022099}"/>
          </ac:spMkLst>
        </pc:spChg>
        <pc:spChg chg="mod">
          <ac:chgData name="Lars Ivar" userId="da83bdda-499a-4427-8775-f375be339a54" providerId="ADAL" clId="{9A0F3B70-5B95-42C4-94C3-05567C69E257}" dt="2021-03-15T09:57:46.875" v="2737" actId="207"/>
          <ac:spMkLst>
            <pc:docMk/>
            <pc:sldMk cId="3381423696" sldId="511"/>
            <ac:spMk id="32" creationId="{30CC240C-0BBA-4A63-8EF9-ECD4282F6B45}"/>
          </ac:spMkLst>
        </pc:spChg>
        <pc:spChg chg="mod">
          <ac:chgData name="Lars Ivar" userId="da83bdda-499a-4427-8775-f375be339a54" providerId="ADAL" clId="{9A0F3B70-5B95-42C4-94C3-05567C69E257}" dt="2021-03-15T09:57:46.875" v="2737" actId="207"/>
          <ac:spMkLst>
            <pc:docMk/>
            <pc:sldMk cId="3381423696" sldId="511"/>
            <ac:spMk id="33" creationId="{4F28539C-6251-4CF0-BCD3-E71935B96E0C}"/>
          </ac:spMkLst>
        </pc:spChg>
        <pc:spChg chg="mod">
          <ac:chgData name="Lars Ivar" userId="da83bdda-499a-4427-8775-f375be339a54" providerId="ADAL" clId="{9A0F3B70-5B95-42C4-94C3-05567C69E257}" dt="2021-03-15T09:57:46.875" v="2737" actId="207"/>
          <ac:spMkLst>
            <pc:docMk/>
            <pc:sldMk cId="3381423696" sldId="511"/>
            <ac:spMk id="34" creationId="{25E92728-DFC1-49DC-8B10-233A7C513ABA}"/>
          </ac:spMkLst>
        </pc:spChg>
        <pc:spChg chg="mod">
          <ac:chgData name="Lars Ivar" userId="da83bdda-499a-4427-8775-f375be339a54" providerId="ADAL" clId="{9A0F3B70-5B95-42C4-94C3-05567C69E257}" dt="2021-03-15T09:57:46.875" v="2737" actId="207"/>
          <ac:spMkLst>
            <pc:docMk/>
            <pc:sldMk cId="3381423696" sldId="511"/>
            <ac:spMk id="53" creationId="{B9EDD3D1-B669-40BF-985F-3D7EC3187985}"/>
          </ac:spMkLst>
        </pc:spChg>
        <pc:spChg chg="mod">
          <ac:chgData name="Lars Ivar" userId="da83bdda-499a-4427-8775-f375be339a54" providerId="ADAL" clId="{9A0F3B70-5B95-42C4-94C3-05567C69E257}" dt="2021-03-15T09:57:46.875" v="2737" actId="207"/>
          <ac:spMkLst>
            <pc:docMk/>
            <pc:sldMk cId="3381423696" sldId="511"/>
            <ac:spMk id="54" creationId="{6B80BCAE-49B0-43D5-A9CF-77E6CCCC68D2}"/>
          </ac:spMkLst>
        </pc:spChg>
        <pc:spChg chg="mod">
          <ac:chgData name="Lars Ivar" userId="da83bdda-499a-4427-8775-f375be339a54" providerId="ADAL" clId="{9A0F3B70-5B95-42C4-94C3-05567C69E257}" dt="2021-03-15T09:57:57.063" v="2739" actId="207"/>
          <ac:spMkLst>
            <pc:docMk/>
            <pc:sldMk cId="3381423696" sldId="511"/>
            <ac:spMk id="55" creationId="{532C435B-91E6-417A-9E62-DC9934095C67}"/>
          </ac:spMkLst>
        </pc:spChg>
        <pc:spChg chg="mod">
          <ac:chgData name="Lars Ivar" userId="da83bdda-499a-4427-8775-f375be339a54" providerId="ADAL" clId="{9A0F3B70-5B95-42C4-94C3-05567C69E257}" dt="2021-03-15T09:57:51.027" v="2738" actId="207"/>
          <ac:spMkLst>
            <pc:docMk/>
            <pc:sldMk cId="3381423696" sldId="511"/>
            <ac:spMk id="56" creationId="{0819A9C4-54D3-46F7-9C64-2DF6D7084FE4}"/>
          </ac:spMkLst>
        </pc:spChg>
        <pc:grpChg chg="del">
          <ac:chgData name="Lars Ivar" userId="da83bdda-499a-4427-8775-f375be339a54" providerId="ADAL" clId="{9A0F3B70-5B95-42C4-94C3-05567C69E257}" dt="2021-03-15T09:56:01.056" v="2713" actId="478"/>
          <ac:grpSpMkLst>
            <pc:docMk/>
            <pc:sldMk cId="3381423696" sldId="511"/>
            <ac:grpSpMk id="2" creationId="{FB0E3E3F-4D6E-4365-B8D1-477E1C1440EC}"/>
          </ac:grpSpMkLst>
        </pc:grpChg>
        <pc:grpChg chg="add mod">
          <ac:chgData name="Lars Ivar" userId="da83bdda-499a-4427-8775-f375be339a54" providerId="ADAL" clId="{9A0F3B70-5B95-42C4-94C3-05567C69E257}" dt="2021-03-15T09:57:46.875" v="2737" actId="207"/>
          <ac:grpSpMkLst>
            <pc:docMk/>
            <pc:sldMk cId="3381423696" sldId="511"/>
            <ac:grpSpMk id="23" creationId="{171D26D8-E597-464E-87D4-FED355C1EB64}"/>
          </ac:grpSpMkLst>
        </pc:grpChg>
        <pc:grpChg chg="mod">
          <ac:chgData name="Lars Ivar" userId="da83bdda-499a-4427-8775-f375be339a54" providerId="ADAL" clId="{9A0F3B70-5B95-42C4-94C3-05567C69E257}" dt="2021-03-15T09:57:46.875" v="2737" actId="207"/>
          <ac:grpSpMkLst>
            <pc:docMk/>
            <pc:sldMk cId="3381423696" sldId="511"/>
            <ac:grpSpMk id="24" creationId="{4CCE2664-4D77-4374-BFB8-550B2B570AB0}"/>
          </ac:grpSpMkLst>
        </pc:grpChg>
        <pc:grpChg chg="mod">
          <ac:chgData name="Lars Ivar" userId="da83bdda-499a-4427-8775-f375be339a54" providerId="ADAL" clId="{9A0F3B70-5B95-42C4-94C3-05567C69E257}" dt="2021-03-15T09:57:46.875" v="2737" actId="207"/>
          <ac:grpSpMkLst>
            <pc:docMk/>
            <pc:sldMk cId="3381423696" sldId="511"/>
            <ac:grpSpMk id="25" creationId="{8DE89FC6-CD95-42D5-AB7D-CF62EBE68DA1}"/>
          </ac:grpSpMkLst>
        </pc:grpChg>
        <pc:grpChg chg="mod">
          <ac:chgData name="Lars Ivar" userId="da83bdda-499a-4427-8775-f375be339a54" providerId="ADAL" clId="{9A0F3B70-5B95-42C4-94C3-05567C69E257}" dt="2021-03-15T09:57:46.875" v="2737" actId="207"/>
          <ac:grpSpMkLst>
            <pc:docMk/>
            <pc:sldMk cId="3381423696" sldId="511"/>
            <ac:grpSpMk id="26" creationId="{AF9A7126-2CEA-4E2B-8EB4-413F34720AE0}"/>
          </ac:grpSpMkLst>
        </pc:grpChg>
        <pc:grpChg chg="mod">
          <ac:chgData name="Lars Ivar" userId="da83bdda-499a-4427-8775-f375be339a54" providerId="ADAL" clId="{9A0F3B70-5B95-42C4-94C3-05567C69E257}" dt="2021-03-15T09:57:46.875" v="2737" actId="207"/>
          <ac:grpSpMkLst>
            <pc:docMk/>
            <pc:sldMk cId="3381423696" sldId="511"/>
            <ac:grpSpMk id="27" creationId="{161928BD-734B-43C9-9DAA-5B7A1A0E6680}"/>
          </ac:grpSpMkLst>
        </pc:grpChg>
        <pc:grpChg chg="mod">
          <ac:chgData name="Lars Ivar" userId="da83bdda-499a-4427-8775-f375be339a54" providerId="ADAL" clId="{9A0F3B70-5B95-42C4-94C3-05567C69E257}" dt="2021-03-15T09:57:46.875" v="2737" actId="207"/>
          <ac:grpSpMkLst>
            <pc:docMk/>
            <pc:sldMk cId="3381423696" sldId="511"/>
            <ac:grpSpMk id="28" creationId="{74C772F3-01FA-4AF7-91DB-BF1197FD57BD}"/>
          </ac:grpSpMkLst>
        </pc:grpChg>
        <pc:picChg chg="mod">
          <ac:chgData name="Lars Ivar" userId="da83bdda-499a-4427-8775-f375be339a54" providerId="ADAL" clId="{9A0F3B70-5B95-42C4-94C3-05567C69E257}" dt="2021-03-17T20:42:23.455" v="7491" actId="14100"/>
          <ac:picMkLst>
            <pc:docMk/>
            <pc:sldMk cId="3381423696" sldId="511"/>
            <ac:picMk id="7" creationId="{A8CE818B-684D-4A26-ACF8-414DC924165B}"/>
          </ac:picMkLst>
        </pc:picChg>
      </pc:sldChg>
      <pc:sldChg chg="addSp delSp modSp mod">
        <pc:chgData name="Lars Ivar" userId="da83bdda-499a-4427-8775-f375be339a54" providerId="ADAL" clId="{9A0F3B70-5B95-42C4-94C3-05567C69E257}" dt="2021-03-15T10:42:39.391" v="3633" actId="113"/>
        <pc:sldMkLst>
          <pc:docMk/>
          <pc:sldMk cId="2093270173" sldId="513"/>
        </pc:sldMkLst>
        <pc:spChg chg="mod">
          <ac:chgData name="Lars Ivar" userId="da83bdda-499a-4427-8775-f375be339a54" providerId="ADAL" clId="{9A0F3B70-5B95-42C4-94C3-05567C69E257}" dt="2021-03-15T10:42:39.391" v="3633" actId="113"/>
          <ac:spMkLst>
            <pc:docMk/>
            <pc:sldMk cId="2093270173" sldId="513"/>
            <ac:spMk id="5" creationId="{8C9FD91B-72BD-46F5-97D2-F51F6C1BB30C}"/>
          </ac:spMkLst>
        </pc:spChg>
        <pc:spChg chg="mod">
          <ac:chgData name="Lars Ivar" userId="da83bdda-499a-4427-8775-f375be339a54" providerId="ADAL" clId="{9A0F3B70-5B95-42C4-94C3-05567C69E257}" dt="2021-03-15T09:56:20.471" v="2720"/>
          <ac:spMkLst>
            <pc:docMk/>
            <pc:sldMk cId="2093270173" sldId="513"/>
            <ac:spMk id="29" creationId="{540E59DF-37A7-4022-BFD7-ABBDDC14F53E}"/>
          </ac:spMkLst>
        </pc:spChg>
        <pc:spChg chg="mod">
          <ac:chgData name="Lars Ivar" userId="da83bdda-499a-4427-8775-f375be339a54" providerId="ADAL" clId="{9A0F3B70-5B95-42C4-94C3-05567C69E257}" dt="2021-03-15T09:56:20.471" v="2720"/>
          <ac:spMkLst>
            <pc:docMk/>
            <pc:sldMk cId="2093270173" sldId="513"/>
            <ac:spMk id="30" creationId="{A7BD72FF-37BA-4EA7-A6D5-C29A90284E3F}"/>
          </ac:spMkLst>
        </pc:spChg>
        <pc:spChg chg="mod">
          <ac:chgData name="Lars Ivar" userId="da83bdda-499a-4427-8775-f375be339a54" providerId="ADAL" clId="{9A0F3B70-5B95-42C4-94C3-05567C69E257}" dt="2021-03-15T09:56:20.471" v="2720"/>
          <ac:spMkLst>
            <pc:docMk/>
            <pc:sldMk cId="2093270173" sldId="513"/>
            <ac:spMk id="31" creationId="{CD22A6B8-8E50-458E-9F2B-D3189F7C0AB0}"/>
          </ac:spMkLst>
        </pc:spChg>
        <pc:spChg chg="mod">
          <ac:chgData name="Lars Ivar" userId="da83bdda-499a-4427-8775-f375be339a54" providerId="ADAL" clId="{9A0F3B70-5B95-42C4-94C3-05567C69E257}" dt="2021-03-15T09:56:20.471" v="2720"/>
          <ac:spMkLst>
            <pc:docMk/>
            <pc:sldMk cId="2093270173" sldId="513"/>
            <ac:spMk id="32" creationId="{E3866C77-9658-4E2B-BB1F-FD4C29E84903}"/>
          </ac:spMkLst>
        </pc:spChg>
        <pc:spChg chg="mod">
          <ac:chgData name="Lars Ivar" userId="da83bdda-499a-4427-8775-f375be339a54" providerId="ADAL" clId="{9A0F3B70-5B95-42C4-94C3-05567C69E257}" dt="2021-03-15T09:56:20.471" v="2720"/>
          <ac:spMkLst>
            <pc:docMk/>
            <pc:sldMk cId="2093270173" sldId="513"/>
            <ac:spMk id="33" creationId="{855E63FD-7BBF-43DC-914F-996EFF6C06A8}"/>
          </ac:spMkLst>
        </pc:spChg>
        <pc:spChg chg="mod">
          <ac:chgData name="Lars Ivar" userId="da83bdda-499a-4427-8775-f375be339a54" providerId="ADAL" clId="{9A0F3B70-5B95-42C4-94C3-05567C69E257}" dt="2021-03-15T09:56:20.471" v="2720"/>
          <ac:spMkLst>
            <pc:docMk/>
            <pc:sldMk cId="2093270173" sldId="513"/>
            <ac:spMk id="34" creationId="{1DB97619-C4D9-4C2A-B465-DEF362D21F9E}"/>
          </ac:spMkLst>
        </pc:spChg>
        <pc:spChg chg="mod">
          <ac:chgData name="Lars Ivar" userId="da83bdda-499a-4427-8775-f375be339a54" providerId="ADAL" clId="{9A0F3B70-5B95-42C4-94C3-05567C69E257}" dt="2021-03-15T09:56:20.471" v="2720"/>
          <ac:spMkLst>
            <pc:docMk/>
            <pc:sldMk cId="2093270173" sldId="513"/>
            <ac:spMk id="53" creationId="{A61185A9-7DC5-40B4-A0B4-6E6BBF9BC854}"/>
          </ac:spMkLst>
        </pc:spChg>
        <pc:spChg chg="mod">
          <ac:chgData name="Lars Ivar" userId="da83bdda-499a-4427-8775-f375be339a54" providerId="ADAL" clId="{9A0F3B70-5B95-42C4-94C3-05567C69E257}" dt="2021-03-15T09:56:20.471" v="2720"/>
          <ac:spMkLst>
            <pc:docMk/>
            <pc:sldMk cId="2093270173" sldId="513"/>
            <ac:spMk id="54" creationId="{4BD12FA1-E96C-4B55-AD53-0E3A4FAC7D81}"/>
          </ac:spMkLst>
        </pc:spChg>
        <pc:spChg chg="mod">
          <ac:chgData name="Lars Ivar" userId="da83bdda-499a-4427-8775-f375be339a54" providerId="ADAL" clId="{9A0F3B70-5B95-42C4-94C3-05567C69E257}" dt="2021-03-15T09:57:41.217" v="2735" actId="207"/>
          <ac:spMkLst>
            <pc:docMk/>
            <pc:sldMk cId="2093270173" sldId="513"/>
            <ac:spMk id="55" creationId="{D3A6D3C2-B78A-4491-8A76-B5DDEDD03B02}"/>
          </ac:spMkLst>
        </pc:spChg>
        <pc:spChg chg="mod">
          <ac:chgData name="Lars Ivar" userId="da83bdda-499a-4427-8775-f375be339a54" providerId="ADAL" clId="{9A0F3B70-5B95-42C4-94C3-05567C69E257}" dt="2021-03-15T09:57:36.595" v="2734" actId="207"/>
          <ac:spMkLst>
            <pc:docMk/>
            <pc:sldMk cId="2093270173" sldId="513"/>
            <ac:spMk id="56" creationId="{6850999B-EE23-4FCA-8037-69C0213E0FDA}"/>
          </ac:spMkLst>
        </pc:spChg>
        <pc:grpChg chg="del">
          <ac:chgData name="Lars Ivar" userId="da83bdda-499a-4427-8775-f375be339a54" providerId="ADAL" clId="{9A0F3B70-5B95-42C4-94C3-05567C69E257}" dt="2021-03-15T09:56:19.394" v="2719" actId="478"/>
          <ac:grpSpMkLst>
            <pc:docMk/>
            <pc:sldMk cId="2093270173" sldId="513"/>
            <ac:grpSpMk id="2" creationId="{FB0E3E3F-4D6E-4365-B8D1-477E1C1440EC}"/>
          </ac:grpSpMkLst>
        </pc:grpChg>
        <pc:grpChg chg="add mod">
          <ac:chgData name="Lars Ivar" userId="da83bdda-499a-4427-8775-f375be339a54" providerId="ADAL" clId="{9A0F3B70-5B95-42C4-94C3-05567C69E257}" dt="2021-03-15T09:56:20.471" v="2720"/>
          <ac:grpSpMkLst>
            <pc:docMk/>
            <pc:sldMk cId="2093270173" sldId="513"/>
            <ac:grpSpMk id="23" creationId="{61F74EB9-4448-4FE3-912C-C520909DE031}"/>
          </ac:grpSpMkLst>
        </pc:grpChg>
        <pc:grpChg chg="mod">
          <ac:chgData name="Lars Ivar" userId="da83bdda-499a-4427-8775-f375be339a54" providerId="ADAL" clId="{9A0F3B70-5B95-42C4-94C3-05567C69E257}" dt="2021-03-15T09:56:20.471" v="2720"/>
          <ac:grpSpMkLst>
            <pc:docMk/>
            <pc:sldMk cId="2093270173" sldId="513"/>
            <ac:grpSpMk id="24" creationId="{F1D9329A-AFCB-4D12-9ABE-7DFDC69C74A6}"/>
          </ac:grpSpMkLst>
        </pc:grpChg>
        <pc:grpChg chg="mod">
          <ac:chgData name="Lars Ivar" userId="da83bdda-499a-4427-8775-f375be339a54" providerId="ADAL" clId="{9A0F3B70-5B95-42C4-94C3-05567C69E257}" dt="2021-03-15T09:56:20.471" v="2720"/>
          <ac:grpSpMkLst>
            <pc:docMk/>
            <pc:sldMk cId="2093270173" sldId="513"/>
            <ac:grpSpMk id="25" creationId="{4703813D-AAE5-4176-B6BE-1DDF5761932B}"/>
          </ac:grpSpMkLst>
        </pc:grpChg>
        <pc:grpChg chg="mod">
          <ac:chgData name="Lars Ivar" userId="da83bdda-499a-4427-8775-f375be339a54" providerId="ADAL" clId="{9A0F3B70-5B95-42C4-94C3-05567C69E257}" dt="2021-03-15T09:56:20.471" v="2720"/>
          <ac:grpSpMkLst>
            <pc:docMk/>
            <pc:sldMk cId="2093270173" sldId="513"/>
            <ac:grpSpMk id="26" creationId="{23384E69-1F3F-4654-A591-BF7D257D72ED}"/>
          </ac:grpSpMkLst>
        </pc:grpChg>
        <pc:grpChg chg="mod">
          <ac:chgData name="Lars Ivar" userId="da83bdda-499a-4427-8775-f375be339a54" providerId="ADAL" clId="{9A0F3B70-5B95-42C4-94C3-05567C69E257}" dt="2021-03-15T09:56:20.471" v="2720"/>
          <ac:grpSpMkLst>
            <pc:docMk/>
            <pc:sldMk cId="2093270173" sldId="513"/>
            <ac:grpSpMk id="27" creationId="{8F0A526E-794F-40B2-BDB7-0BFEBC929C08}"/>
          </ac:grpSpMkLst>
        </pc:grpChg>
        <pc:grpChg chg="mod">
          <ac:chgData name="Lars Ivar" userId="da83bdda-499a-4427-8775-f375be339a54" providerId="ADAL" clId="{9A0F3B70-5B95-42C4-94C3-05567C69E257}" dt="2021-03-15T09:56:20.471" v="2720"/>
          <ac:grpSpMkLst>
            <pc:docMk/>
            <pc:sldMk cId="2093270173" sldId="513"/>
            <ac:grpSpMk id="28" creationId="{368D75DF-80B4-47F5-8B3A-A0328CA60DF8}"/>
          </ac:grpSpMkLst>
        </pc:grpChg>
      </pc:sldChg>
      <pc:sldChg chg="modSp mod modNotesTx">
        <pc:chgData name="Lars Ivar" userId="da83bdda-499a-4427-8775-f375be339a54" providerId="ADAL" clId="{9A0F3B70-5B95-42C4-94C3-05567C69E257}" dt="2021-03-18T15:03:27.217" v="8376" actId="20577"/>
        <pc:sldMkLst>
          <pc:docMk/>
          <pc:sldMk cId="1277125344" sldId="514"/>
        </pc:sldMkLst>
        <pc:spChg chg="mod">
          <ac:chgData name="Lars Ivar" userId="da83bdda-499a-4427-8775-f375be339a54" providerId="ADAL" clId="{9A0F3B70-5B95-42C4-94C3-05567C69E257}" dt="2021-03-18T15:02:05.275" v="8168" actId="15"/>
          <ac:spMkLst>
            <pc:docMk/>
            <pc:sldMk cId="1277125344" sldId="514"/>
            <ac:spMk id="7" creationId="{63991A79-2DF5-4987-8986-F8B6237BF2C9}"/>
          </ac:spMkLst>
        </pc:spChg>
        <pc:spChg chg="mod">
          <ac:chgData name="Lars Ivar" userId="da83bdda-499a-4427-8775-f375be339a54" providerId="ADAL" clId="{9A0F3B70-5B95-42C4-94C3-05567C69E257}" dt="2021-03-15T09:56:46.905" v="2725" actId="207"/>
          <ac:spMkLst>
            <pc:docMk/>
            <pc:sldMk cId="1277125344" sldId="514"/>
            <ac:spMk id="55" creationId="{0C717D4E-D62F-4A15-B28E-931B23F542C5}"/>
          </ac:spMkLst>
        </pc:spChg>
        <pc:spChg chg="mod">
          <ac:chgData name="Lars Ivar" userId="da83bdda-499a-4427-8775-f375be339a54" providerId="ADAL" clId="{9A0F3B70-5B95-42C4-94C3-05567C69E257}" dt="2021-03-15T09:56:40.733" v="2724" actId="207"/>
          <ac:spMkLst>
            <pc:docMk/>
            <pc:sldMk cId="1277125344" sldId="514"/>
            <ac:spMk id="56" creationId="{E22F85E1-5DBA-4C51-84F4-96AFB3AB9032}"/>
          </ac:spMkLst>
        </pc:spChg>
      </pc:sldChg>
      <pc:sldChg chg="modNotesTx">
        <pc:chgData name="Lars Ivar" userId="da83bdda-499a-4427-8775-f375be339a54" providerId="ADAL" clId="{9A0F3B70-5B95-42C4-94C3-05567C69E257}" dt="2021-03-15T13:53:38.215" v="6826" actId="20577"/>
        <pc:sldMkLst>
          <pc:docMk/>
          <pc:sldMk cId="2969954107" sldId="515"/>
        </pc:sldMkLst>
      </pc:sldChg>
      <pc:sldChg chg="addSp delSp modSp mod ord modNotesTx">
        <pc:chgData name="Lars Ivar" userId="da83bdda-499a-4427-8775-f375be339a54" providerId="ADAL" clId="{9A0F3B70-5B95-42C4-94C3-05567C69E257}" dt="2021-03-15T13:59:28.659" v="6828"/>
        <pc:sldMkLst>
          <pc:docMk/>
          <pc:sldMk cId="2321556187" sldId="516"/>
        </pc:sldMkLst>
        <pc:spChg chg="add del">
          <ac:chgData name="Lars Ivar" userId="da83bdda-499a-4427-8775-f375be339a54" providerId="ADAL" clId="{9A0F3B70-5B95-42C4-94C3-05567C69E257}" dt="2021-03-15T08:45:28.152" v="2084" actId="478"/>
          <ac:spMkLst>
            <pc:docMk/>
            <pc:sldMk cId="2321556187" sldId="516"/>
            <ac:spMk id="2" creationId="{399C1480-149E-471C-BA5E-56C91F66EC34}"/>
          </ac:spMkLst>
        </pc:spChg>
        <pc:spChg chg="add del">
          <ac:chgData name="Lars Ivar" userId="da83bdda-499a-4427-8775-f375be339a54" providerId="ADAL" clId="{9A0F3B70-5B95-42C4-94C3-05567C69E257}" dt="2021-03-15T08:45:24.914" v="2083" actId="478"/>
          <ac:spMkLst>
            <pc:docMk/>
            <pc:sldMk cId="2321556187" sldId="516"/>
            <ac:spMk id="3" creationId="{F2CCA9B6-780A-464E-9B7B-7EBF459C5FBA}"/>
          </ac:spMkLst>
        </pc:spChg>
        <pc:spChg chg="add del">
          <ac:chgData name="Lars Ivar" userId="da83bdda-499a-4427-8775-f375be339a54" providerId="ADAL" clId="{9A0F3B70-5B95-42C4-94C3-05567C69E257}" dt="2021-03-15T08:45:21.643" v="2082" actId="478"/>
          <ac:spMkLst>
            <pc:docMk/>
            <pc:sldMk cId="2321556187" sldId="516"/>
            <ac:spMk id="4" creationId="{1395421A-8D3A-4CCC-9996-5C30803A2EA6}"/>
          </ac:spMkLst>
        </pc:spChg>
        <pc:spChg chg="add del">
          <ac:chgData name="Lars Ivar" userId="da83bdda-499a-4427-8775-f375be339a54" providerId="ADAL" clId="{9A0F3B70-5B95-42C4-94C3-05567C69E257}" dt="2021-03-15T12:26:19.461" v="6436" actId="478"/>
          <ac:spMkLst>
            <pc:docMk/>
            <pc:sldMk cId="2321556187" sldId="516"/>
            <ac:spMk id="5" creationId="{979DCC1B-2ECB-4032-85E9-9B9BE3877687}"/>
          </ac:spMkLst>
        </pc:spChg>
        <pc:spChg chg="add mod">
          <ac:chgData name="Lars Ivar" userId="da83bdda-499a-4427-8775-f375be339a54" providerId="ADAL" clId="{9A0F3B70-5B95-42C4-94C3-05567C69E257}" dt="2021-03-15T12:27:47.584" v="6456" actId="20577"/>
          <ac:spMkLst>
            <pc:docMk/>
            <pc:sldMk cId="2321556187" sldId="516"/>
            <ac:spMk id="6" creationId="{F68C0BEA-FE3D-4918-9C88-8739012B9C37}"/>
          </ac:spMkLst>
        </pc:spChg>
        <pc:spChg chg="add mod">
          <ac:chgData name="Lars Ivar" userId="da83bdda-499a-4427-8775-f375be339a54" providerId="ADAL" clId="{9A0F3B70-5B95-42C4-94C3-05567C69E257}" dt="2021-03-15T12:26:58.015" v="6442" actId="14100"/>
          <ac:spMkLst>
            <pc:docMk/>
            <pc:sldMk cId="2321556187" sldId="516"/>
            <ac:spMk id="7" creationId="{EF192944-FF6B-4592-BD9F-02151252E168}"/>
          </ac:spMkLst>
        </pc:spChg>
        <pc:spChg chg="add mod">
          <ac:chgData name="Lars Ivar" userId="da83bdda-499a-4427-8775-f375be339a54" providerId="ADAL" clId="{9A0F3B70-5B95-42C4-94C3-05567C69E257}" dt="2021-03-15T12:28:18.171" v="6465" actId="404"/>
          <ac:spMkLst>
            <pc:docMk/>
            <pc:sldMk cId="2321556187" sldId="516"/>
            <ac:spMk id="8" creationId="{1D8497A5-D89D-4A44-86C2-41A5AF465F61}"/>
          </ac:spMkLst>
        </pc:spChg>
        <pc:spChg chg="add">
          <ac:chgData name="Lars Ivar" userId="da83bdda-499a-4427-8775-f375be339a54" providerId="ADAL" clId="{9A0F3B70-5B95-42C4-94C3-05567C69E257}" dt="2021-03-15T12:28:58.974" v="6472" actId="11529"/>
          <ac:spMkLst>
            <pc:docMk/>
            <pc:sldMk cId="2321556187" sldId="516"/>
            <ac:spMk id="9" creationId="{C66C4181-65ED-4E69-B428-5C7031FC6580}"/>
          </ac:spMkLst>
        </pc:spChg>
        <pc:spChg chg="add">
          <ac:chgData name="Lars Ivar" userId="da83bdda-499a-4427-8775-f375be339a54" providerId="ADAL" clId="{9A0F3B70-5B95-42C4-94C3-05567C69E257}" dt="2021-03-15T12:29:10.665" v="6473" actId="11529"/>
          <ac:spMkLst>
            <pc:docMk/>
            <pc:sldMk cId="2321556187" sldId="516"/>
            <ac:spMk id="10" creationId="{F5A715EA-6DED-48B1-93BA-27070AF282A3}"/>
          </ac:spMkLst>
        </pc:spChg>
        <pc:spChg chg="add mod">
          <ac:chgData name="Lars Ivar" userId="da83bdda-499a-4427-8775-f375be339a54" providerId="ADAL" clId="{9A0F3B70-5B95-42C4-94C3-05567C69E257}" dt="2021-03-15T12:30:06.021" v="6486" actId="1076"/>
          <ac:spMkLst>
            <pc:docMk/>
            <pc:sldMk cId="2321556187" sldId="516"/>
            <ac:spMk id="12" creationId="{A8434D9E-DDB0-41BE-9FFF-E7E1EE2EC43C}"/>
          </ac:spMkLst>
        </pc:spChg>
        <pc:spChg chg="mod">
          <ac:chgData name="Lars Ivar" userId="da83bdda-499a-4427-8775-f375be339a54" providerId="ADAL" clId="{9A0F3B70-5B95-42C4-94C3-05567C69E257}" dt="2021-03-15T12:26:45.863" v="6439" actId="14100"/>
          <ac:spMkLst>
            <pc:docMk/>
            <pc:sldMk cId="2321556187" sldId="516"/>
            <ac:spMk id="26" creationId="{F7012B31-D035-4588-A480-DACDA83B843C}"/>
          </ac:spMkLst>
        </pc:spChg>
        <pc:spChg chg="add del mod">
          <ac:chgData name="Lars Ivar" userId="da83bdda-499a-4427-8775-f375be339a54" providerId="ADAL" clId="{9A0F3B70-5B95-42C4-94C3-05567C69E257}" dt="2021-03-15T12:27:50.168" v="6458" actId="478"/>
          <ac:spMkLst>
            <pc:docMk/>
            <pc:sldMk cId="2321556187" sldId="516"/>
            <ac:spMk id="29" creationId="{33481975-DD1D-4ED9-9FA2-E4E48F0F0C8C}"/>
          </ac:spMkLst>
        </pc:spChg>
        <pc:spChg chg="add del mod">
          <ac:chgData name="Lars Ivar" userId="da83bdda-499a-4427-8775-f375be339a54" providerId="ADAL" clId="{9A0F3B70-5B95-42C4-94C3-05567C69E257}" dt="2021-03-15T12:28:21.564" v="6467"/>
          <ac:spMkLst>
            <pc:docMk/>
            <pc:sldMk cId="2321556187" sldId="516"/>
            <ac:spMk id="30" creationId="{77CF0683-F8FA-437A-9455-18C01A323509}"/>
          </ac:spMkLst>
        </pc:spChg>
        <pc:spChg chg="add mod">
          <ac:chgData name="Lars Ivar" userId="da83bdda-499a-4427-8775-f375be339a54" providerId="ADAL" clId="{9A0F3B70-5B95-42C4-94C3-05567C69E257}" dt="2021-03-15T12:28:31.954" v="6471" actId="20577"/>
          <ac:spMkLst>
            <pc:docMk/>
            <pc:sldMk cId="2321556187" sldId="516"/>
            <ac:spMk id="31" creationId="{6A2A5912-2CC9-4015-9902-3DB9C27197E8}"/>
          </ac:spMkLst>
        </pc:spChg>
        <pc:spChg chg="add mod">
          <ac:chgData name="Lars Ivar" userId="da83bdda-499a-4427-8775-f375be339a54" providerId="ADAL" clId="{9A0F3B70-5B95-42C4-94C3-05567C69E257}" dt="2021-03-15T12:30:01.093" v="6485" actId="14100"/>
          <ac:spMkLst>
            <pc:docMk/>
            <pc:sldMk cId="2321556187" sldId="516"/>
            <ac:spMk id="35" creationId="{338DFA99-2A14-4E33-914E-1FC63A119DC8}"/>
          </ac:spMkLst>
        </pc:spChg>
        <pc:spChg chg="mod">
          <ac:chgData name="Lars Ivar" userId="da83bdda-499a-4427-8775-f375be339a54" providerId="ADAL" clId="{9A0F3B70-5B95-42C4-94C3-05567C69E257}" dt="2021-03-15T09:55:22.738" v="2709" actId="207"/>
          <ac:spMkLst>
            <pc:docMk/>
            <pc:sldMk cId="2321556187" sldId="516"/>
            <ac:spMk id="47" creationId="{BF68D7E9-0B49-4601-84CA-6DCDD023BAAD}"/>
          </ac:spMkLst>
        </pc:spChg>
        <pc:spChg chg="mod">
          <ac:chgData name="Lars Ivar" userId="da83bdda-499a-4427-8775-f375be339a54" providerId="ADAL" clId="{9A0F3B70-5B95-42C4-94C3-05567C69E257}" dt="2021-03-15T09:55:15.249" v="2708" actId="207"/>
          <ac:spMkLst>
            <pc:docMk/>
            <pc:sldMk cId="2321556187" sldId="516"/>
            <ac:spMk id="48" creationId="{0234165B-5729-41FF-8D29-D7F02C63A150}"/>
          </ac:spMkLst>
        </pc:spChg>
      </pc:sldChg>
      <pc:sldChg chg="addSp modSp mod">
        <pc:chgData name="Lars Ivar" userId="da83bdda-499a-4427-8775-f375be339a54" providerId="ADAL" clId="{9A0F3B70-5B95-42C4-94C3-05567C69E257}" dt="2021-03-17T20:27:27.703" v="6973" actId="1076"/>
        <pc:sldMkLst>
          <pc:docMk/>
          <pc:sldMk cId="1014196345" sldId="517"/>
        </pc:sldMkLst>
        <pc:spChg chg="add mod">
          <ac:chgData name="Lars Ivar" userId="da83bdda-499a-4427-8775-f375be339a54" providerId="ADAL" clId="{9A0F3B70-5B95-42C4-94C3-05567C69E257}" dt="2021-03-12T12:18:52.604" v="651" actId="20577"/>
          <ac:spMkLst>
            <pc:docMk/>
            <pc:sldMk cId="1014196345" sldId="517"/>
            <ac:spMk id="21" creationId="{135FF45E-EDED-46AF-9090-380ACA2A1B91}"/>
          </ac:spMkLst>
        </pc:spChg>
        <pc:spChg chg="mod">
          <ac:chgData name="Lars Ivar" userId="da83bdda-499a-4427-8775-f375be339a54" providerId="ADAL" clId="{9A0F3B70-5B95-42C4-94C3-05567C69E257}" dt="2021-03-17T20:27:11.196" v="6970" actId="2710"/>
          <ac:spMkLst>
            <pc:docMk/>
            <pc:sldMk cId="1014196345" sldId="517"/>
            <ac:spMk id="24" creationId="{EA8F9227-DAE2-4987-AD75-3CECC1B5F7DB}"/>
          </ac:spMkLst>
        </pc:spChg>
        <pc:spChg chg="mod">
          <ac:chgData name="Lars Ivar" userId="da83bdda-499a-4427-8775-f375be339a54" providerId="ADAL" clId="{9A0F3B70-5B95-42C4-94C3-05567C69E257}" dt="2021-03-12T12:20:21.063" v="666" actId="207"/>
          <ac:spMkLst>
            <pc:docMk/>
            <pc:sldMk cId="1014196345" sldId="517"/>
            <ac:spMk id="28" creationId="{48703A56-96F6-4216-B29F-75E1A68FEBED}"/>
          </ac:spMkLst>
        </pc:spChg>
        <pc:spChg chg="mod">
          <ac:chgData name="Lars Ivar" userId="da83bdda-499a-4427-8775-f375be339a54" providerId="ADAL" clId="{9A0F3B70-5B95-42C4-94C3-05567C69E257}" dt="2021-03-15T11:41:07.253" v="4518" actId="207"/>
          <ac:spMkLst>
            <pc:docMk/>
            <pc:sldMk cId="1014196345" sldId="517"/>
            <ac:spMk id="55" creationId="{03D0A695-5AC9-434F-A07E-47E34CB10E92}"/>
          </ac:spMkLst>
        </pc:spChg>
        <pc:spChg chg="mod">
          <ac:chgData name="Lars Ivar" userId="da83bdda-499a-4427-8775-f375be339a54" providerId="ADAL" clId="{9A0F3B70-5B95-42C4-94C3-05567C69E257}" dt="2021-03-15T11:40:51.188" v="4511" actId="207"/>
          <ac:spMkLst>
            <pc:docMk/>
            <pc:sldMk cId="1014196345" sldId="517"/>
            <ac:spMk id="56" creationId="{62AFFCF8-5C82-4CC7-9716-38E18DB065B6}"/>
          </ac:spMkLst>
        </pc:spChg>
        <pc:picChg chg="mod">
          <ac:chgData name="Lars Ivar" userId="da83bdda-499a-4427-8775-f375be339a54" providerId="ADAL" clId="{9A0F3B70-5B95-42C4-94C3-05567C69E257}" dt="2021-03-17T20:27:15.271" v="6972" actId="14100"/>
          <ac:picMkLst>
            <pc:docMk/>
            <pc:sldMk cId="1014196345" sldId="517"/>
            <ac:picMk id="43" creationId="{28966F7F-0384-4448-8D3B-AFBD8D3C62AE}"/>
          </ac:picMkLst>
        </pc:picChg>
        <pc:picChg chg="mod">
          <ac:chgData name="Lars Ivar" userId="da83bdda-499a-4427-8775-f375be339a54" providerId="ADAL" clId="{9A0F3B70-5B95-42C4-94C3-05567C69E257}" dt="2021-03-17T20:27:27.703" v="6973" actId="1076"/>
          <ac:picMkLst>
            <pc:docMk/>
            <pc:sldMk cId="1014196345" sldId="517"/>
            <ac:picMk id="44" creationId="{91AE6796-D09F-4C09-BDA1-011BAFECF03E}"/>
          </ac:picMkLst>
        </pc:picChg>
      </pc:sldChg>
      <pc:sldChg chg="addSp delSp modSp mod">
        <pc:chgData name="Lars Ivar" userId="da83bdda-499a-4427-8775-f375be339a54" providerId="ADAL" clId="{9A0F3B70-5B95-42C4-94C3-05567C69E257}" dt="2021-03-15T11:40:33.763" v="4502"/>
        <pc:sldMkLst>
          <pc:docMk/>
          <pc:sldMk cId="1171378971" sldId="518"/>
        </pc:sldMkLst>
        <pc:spChg chg="mod">
          <ac:chgData name="Lars Ivar" userId="da83bdda-499a-4427-8775-f375be339a54" providerId="ADAL" clId="{9A0F3B70-5B95-42C4-94C3-05567C69E257}" dt="2021-03-15T08:39:33.740" v="1852" actId="20577"/>
          <ac:spMkLst>
            <pc:docMk/>
            <pc:sldMk cId="1171378971" sldId="518"/>
            <ac:spMk id="26" creationId="{F7012B31-D035-4588-A480-DACDA83B843C}"/>
          </ac:spMkLst>
        </pc:spChg>
        <pc:spChg chg="mod">
          <ac:chgData name="Lars Ivar" userId="da83bdda-499a-4427-8775-f375be339a54" providerId="ADAL" clId="{9A0F3B70-5B95-42C4-94C3-05567C69E257}" dt="2021-03-15T11:40:33.763" v="4502"/>
          <ac:spMkLst>
            <pc:docMk/>
            <pc:sldMk cId="1171378971" sldId="518"/>
            <ac:spMk id="34" creationId="{005AD05F-A20F-48EE-BF2B-F3AD171315F2}"/>
          </ac:spMkLst>
        </pc:spChg>
        <pc:spChg chg="mod">
          <ac:chgData name="Lars Ivar" userId="da83bdda-499a-4427-8775-f375be339a54" providerId="ADAL" clId="{9A0F3B70-5B95-42C4-94C3-05567C69E257}" dt="2021-03-15T11:40:33.763" v="4502"/>
          <ac:spMkLst>
            <pc:docMk/>
            <pc:sldMk cId="1171378971" sldId="518"/>
            <ac:spMk id="35" creationId="{ED014475-17BE-48AB-8FCF-6AC5E9BCCD14}"/>
          </ac:spMkLst>
        </pc:spChg>
        <pc:spChg chg="mod">
          <ac:chgData name="Lars Ivar" userId="da83bdda-499a-4427-8775-f375be339a54" providerId="ADAL" clId="{9A0F3B70-5B95-42C4-94C3-05567C69E257}" dt="2021-03-15T11:40:33.763" v="4502"/>
          <ac:spMkLst>
            <pc:docMk/>
            <pc:sldMk cId="1171378971" sldId="518"/>
            <ac:spMk id="36" creationId="{02D3ABE9-2A44-4683-A148-6CCEEE4F5CCC}"/>
          </ac:spMkLst>
        </pc:spChg>
        <pc:spChg chg="mod">
          <ac:chgData name="Lars Ivar" userId="da83bdda-499a-4427-8775-f375be339a54" providerId="ADAL" clId="{9A0F3B70-5B95-42C4-94C3-05567C69E257}" dt="2021-03-15T11:40:33.763" v="4502"/>
          <ac:spMkLst>
            <pc:docMk/>
            <pc:sldMk cId="1171378971" sldId="518"/>
            <ac:spMk id="37" creationId="{925FAB51-4A87-4762-B544-D74AE5407F07}"/>
          </ac:spMkLst>
        </pc:spChg>
        <pc:spChg chg="mod">
          <ac:chgData name="Lars Ivar" userId="da83bdda-499a-4427-8775-f375be339a54" providerId="ADAL" clId="{9A0F3B70-5B95-42C4-94C3-05567C69E257}" dt="2021-03-15T11:40:33.763" v="4502"/>
          <ac:spMkLst>
            <pc:docMk/>
            <pc:sldMk cId="1171378971" sldId="518"/>
            <ac:spMk id="38" creationId="{6392B5DA-8AFB-4738-8D35-0534B10DA1DE}"/>
          </ac:spMkLst>
        </pc:spChg>
        <pc:spChg chg="mod">
          <ac:chgData name="Lars Ivar" userId="da83bdda-499a-4427-8775-f375be339a54" providerId="ADAL" clId="{9A0F3B70-5B95-42C4-94C3-05567C69E257}" dt="2021-03-15T11:40:33.763" v="4502"/>
          <ac:spMkLst>
            <pc:docMk/>
            <pc:sldMk cId="1171378971" sldId="518"/>
            <ac:spMk id="39" creationId="{BF0157DE-71B9-4FF9-9E86-D1019D077E20}"/>
          </ac:spMkLst>
        </pc:spChg>
        <pc:spChg chg="mod">
          <ac:chgData name="Lars Ivar" userId="da83bdda-499a-4427-8775-f375be339a54" providerId="ADAL" clId="{9A0F3B70-5B95-42C4-94C3-05567C69E257}" dt="2021-03-15T11:40:33.763" v="4502"/>
          <ac:spMkLst>
            <pc:docMk/>
            <pc:sldMk cId="1171378971" sldId="518"/>
            <ac:spMk id="40" creationId="{BC705B0D-606B-40A5-97D9-8BC233A154E9}"/>
          </ac:spMkLst>
        </pc:spChg>
        <pc:spChg chg="mod">
          <ac:chgData name="Lars Ivar" userId="da83bdda-499a-4427-8775-f375be339a54" providerId="ADAL" clId="{9A0F3B70-5B95-42C4-94C3-05567C69E257}" dt="2021-03-15T11:40:33.763" v="4502"/>
          <ac:spMkLst>
            <pc:docMk/>
            <pc:sldMk cId="1171378971" sldId="518"/>
            <ac:spMk id="41" creationId="{D38437AE-2890-4167-BCF9-5490F79474C3}"/>
          </ac:spMkLst>
        </pc:spChg>
        <pc:spChg chg="mod">
          <ac:chgData name="Lars Ivar" userId="da83bdda-499a-4427-8775-f375be339a54" providerId="ADAL" clId="{9A0F3B70-5B95-42C4-94C3-05567C69E257}" dt="2021-03-15T11:40:33.763" v="4502"/>
          <ac:spMkLst>
            <pc:docMk/>
            <pc:sldMk cId="1171378971" sldId="518"/>
            <ac:spMk id="42" creationId="{56200136-9127-4781-88FC-DC71ACB19B97}"/>
          </ac:spMkLst>
        </pc:spChg>
        <pc:spChg chg="mod">
          <ac:chgData name="Lars Ivar" userId="da83bdda-499a-4427-8775-f375be339a54" providerId="ADAL" clId="{9A0F3B70-5B95-42C4-94C3-05567C69E257}" dt="2021-03-15T11:40:33.763" v="4502"/>
          <ac:spMkLst>
            <pc:docMk/>
            <pc:sldMk cId="1171378971" sldId="518"/>
            <ac:spMk id="57" creationId="{07DF87B0-088B-47B1-B0A5-CBD07BBF21E7}"/>
          </ac:spMkLst>
        </pc:spChg>
        <pc:grpChg chg="del">
          <ac:chgData name="Lars Ivar" userId="da83bdda-499a-4427-8775-f375be339a54" providerId="ADAL" clId="{9A0F3B70-5B95-42C4-94C3-05567C69E257}" dt="2021-03-15T11:40:33.488" v="4501" actId="478"/>
          <ac:grpSpMkLst>
            <pc:docMk/>
            <pc:sldMk cId="1171378971" sldId="518"/>
            <ac:grpSpMk id="23" creationId="{D8E45DFE-45A3-4038-A161-20CA70E8F2A4}"/>
          </ac:grpSpMkLst>
        </pc:grpChg>
        <pc:grpChg chg="add mod">
          <ac:chgData name="Lars Ivar" userId="da83bdda-499a-4427-8775-f375be339a54" providerId="ADAL" clId="{9A0F3B70-5B95-42C4-94C3-05567C69E257}" dt="2021-03-15T11:40:33.763" v="4502"/>
          <ac:grpSpMkLst>
            <pc:docMk/>
            <pc:sldMk cId="1171378971" sldId="518"/>
            <ac:grpSpMk id="25" creationId="{996FEFD5-4AED-40D0-9B7E-0D97DF2267E4}"/>
          </ac:grpSpMkLst>
        </pc:grpChg>
        <pc:grpChg chg="mod">
          <ac:chgData name="Lars Ivar" userId="da83bdda-499a-4427-8775-f375be339a54" providerId="ADAL" clId="{9A0F3B70-5B95-42C4-94C3-05567C69E257}" dt="2021-03-15T11:40:33.763" v="4502"/>
          <ac:grpSpMkLst>
            <pc:docMk/>
            <pc:sldMk cId="1171378971" sldId="518"/>
            <ac:grpSpMk id="29" creationId="{2A35BAE9-078A-4B37-834D-30449BB0D349}"/>
          </ac:grpSpMkLst>
        </pc:grpChg>
        <pc:grpChg chg="mod">
          <ac:chgData name="Lars Ivar" userId="da83bdda-499a-4427-8775-f375be339a54" providerId="ADAL" clId="{9A0F3B70-5B95-42C4-94C3-05567C69E257}" dt="2021-03-15T11:40:33.763" v="4502"/>
          <ac:grpSpMkLst>
            <pc:docMk/>
            <pc:sldMk cId="1171378971" sldId="518"/>
            <ac:grpSpMk id="30" creationId="{2125E24D-7413-45A3-A07C-D9BD8A43E4C4}"/>
          </ac:grpSpMkLst>
        </pc:grpChg>
        <pc:grpChg chg="mod">
          <ac:chgData name="Lars Ivar" userId="da83bdda-499a-4427-8775-f375be339a54" providerId="ADAL" clId="{9A0F3B70-5B95-42C4-94C3-05567C69E257}" dt="2021-03-15T11:40:33.763" v="4502"/>
          <ac:grpSpMkLst>
            <pc:docMk/>
            <pc:sldMk cId="1171378971" sldId="518"/>
            <ac:grpSpMk id="31" creationId="{52C09F1D-6E87-40A3-BAE9-1C9373FAB934}"/>
          </ac:grpSpMkLst>
        </pc:grpChg>
        <pc:grpChg chg="mod">
          <ac:chgData name="Lars Ivar" userId="da83bdda-499a-4427-8775-f375be339a54" providerId="ADAL" clId="{9A0F3B70-5B95-42C4-94C3-05567C69E257}" dt="2021-03-15T11:40:33.763" v="4502"/>
          <ac:grpSpMkLst>
            <pc:docMk/>
            <pc:sldMk cId="1171378971" sldId="518"/>
            <ac:grpSpMk id="32" creationId="{5DCFAEBA-A909-4D23-9500-4C36AE73B8FF}"/>
          </ac:grpSpMkLst>
        </pc:grpChg>
        <pc:grpChg chg="mod">
          <ac:chgData name="Lars Ivar" userId="da83bdda-499a-4427-8775-f375be339a54" providerId="ADAL" clId="{9A0F3B70-5B95-42C4-94C3-05567C69E257}" dt="2021-03-15T11:40:33.763" v="4502"/>
          <ac:grpSpMkLst>
            <pc:docMk/>
            <pc:sldMk cId="1171378971" sldId="518"/>
            <ac:grpSpMk id="33" creationId="{DCC7ABE1-EE9B-48D7-9383-1756E70ECA22}"/>
          </ac:grpSpMkLst>
        </pc:grpChg>
      </pc:sldChg>
      <pc:sldChg chg="addSp delSp modSp add mod">
        <pc:chgData name="Lars Ivar" userId="da83bdda-499a-4427-8775-f375be339a54" providerId="ADAL" clId="{9A0F3B70-5B95-42C4-94C3-05567C69E257}" dt="2021-03-15T12:02:10.774" v="5973" actId="20577"/>
        <pc:sldMkLst>
          <pc:docMk/>
          <pc:sldMk cId="1671744915" sldId="519"/>
        </pc:sldMkLst>
        <pc:spChg chg="add mod">
          <ac:chgData name="Lars Ivar" userId="da83bdda-499a-4427-8775-f375be339a54" providerId="ADAL" clId="{9A0F3B70-5B95-42C4-94C3-05567C69E257}" dt="2021-03-12T12:19:25.662" v="656" actId="14100"/>
          <ac:spMkLst>
            <pc:docMk/>
            <pc:sldMk cId="1671744915" sldId="519"/>
            <ac:spMk id="21" creationId="{A025DCAC-E437-40D0-8A2E-7D20DB7A3F00}"/>
          </ac:spMkLst>
        </pc:spChg>
        <pc:spChg chg="mod">
          <ac:chgData name="Lars Ivar" userId="da83bdda-499a-4427-8775-f375be339a54" providerId="ADAL" clId="{9A0F3B70-5B95-42C4-94C3-05567C69E257}" dt="2021-03-15T12:02:10.774" v="5973" actId="20577"/>
          <ac:spMkLst>
            <pc:docMk/>
            <pc:sldMk cId="1671744915" sldId="519"/>
            <ac:spMk id="23" creationId="{FB028DC4-029B-407D-8F6B-C523579AFE54}"/>
          </ac:spMkLst>
        </pc:spChg>
        <pc:spChg chg="mod">
          <ac:chgData name="Lars Ivar" userId="da83bdda-499a-4427-8775-f375be339a54" providerId="ADAL" clId="{9A0F3B70-5B95-42C4-94C3-05567C69E257}" dt="2021-03-12T12:20:24.506" v="667" actId="207"/>
          <ac:spMkLst>
            <pc:docMk/>
            <pc:sldMk cId="1671744915" sldId="519"/>
            <ac:spMk id="28" creationId="{48703A56-96F6-4216-B29F-75E1A68FEBED}"/>
          </ac:spMkLst>
        </pc:spChg>
        <pc:spChg chg="mod">
          <ac:chgData name="Lars Ivar" userId="da83bdda-499a-4427-8775-f375be339a54" providerId="ADAL" clId="{9A0F3B70-5B95-42C4-94C3-05567C69E257}" dt="2021-03-15T11:41:19.639" v="4524"/>
          <ac:spMkLst>
            <pc:docMk/>
            <pc:sldMk cId="1671744915" sldId="519"/>
            <ac:spMk id="32" creationId="{4D038BB6-D5C5-40AC-A481-8239A56CA189}"/>
          </ac:spMkLst>
        </pc:spChg>
        <pc:spChg chg="mod">
          <ac:chgData name="Lars Ivar" userId="da83bdda-499a-4427-8775-f375be339a54" providerId="ADAL" clId="{9A0F3B70-5B95-42C4-94C3-05567C69E257}" dt="2021-03-15T11:41:19.639" v="4524"/>
          <ac:spMkLst>
            <pc:docMk/>
            <pc:sldMk cId="1671744915" sldId="519"/>
            <ac:spMk id="33" creationId="{2CBB60C6-7536-4A34-B172-5D636959A6DD}"/>
          </ac:spMkLst>
        </pc:spChg>
        <pc:spChg chg="mod">
          <ac:chgData name="Lars Ivar" userId="da83bdda-499a-4427-8775-f375be339a54" providerId="ADAL" clId="{9A0F3B70-5B95-42C4-94C3-05567C69E257}" dt="2021-03-15T11:41:19.639" v="4524"/>
          <ac:spMkLst>
            <pc:docMk/>
            <pc:sldMk cId="1671744915" sldId="519"/>
            <ac:spMk id="34" creationId="{18ECF87D-D270-4F52-944C-CE3E616E1F44}"/>
          </ac:spMkLst>
        </pc:spChg>
        <pc:spChg chg="mod">
          <ac:chgData name="Lars Ivar" userId="da83bdda-499a-4427-8775-f375be339a54" providerId="ADAL" clId="{9A0F3B70-5B95-42C4-94C3-05567C69E257}" dt="2021-03-15T11:41:19.639" v="4524"/>
          <ac:spMkLst>
            <pc:docMk/>
            <pc:sldMk cId="1671744915" sldId="519"/>
            <ac:spMk id="35" creationId="{3CD961E6-15A8-4D69-BED8-42061B9579F9}"/>
          </ac:spMkLst>
        </pc:spChg>
        <pc:spChg chg="mod">
          <ac:chgData name="Lars Ivar" userId="da83bdda-499a-4427-8775-f375be339a54" providerId="ADAL" clId="{9A0F3B70-5B95-42C4-94C3-05567C69E257}" dt="2021-03-15T11:41:19.639" v="4524"/>
          <ac:spMkLst>
            <pc:docMk/>
            <pc:sldMk cId="1671744915" sldId="519"/>
            <ac:spMk id="36" creationId="{1481830C-57C6-44D8-86BD-A6A0E518D33C}"/>
          </ac:spMkLst>
        </pc:spChg>
        <pc:spChg chg="mod">
          <ac:chgData name="Lars Ivar" userId="da83bdda-499a-4427-8775-f375be339a54" providerId="ADAL" clId="{9A0F3B70-5B95-42C4-94C3-05567C69E257}" dt="2021-03-15T11:41:19.639" v="4524"/>
          <ac:spMkLst>
            <pc:docMk/>
            <pc:sldMk cId="1671744915" sldId="519"/>
            <ac:spMk id="37" creationId="{01BC174A-769C-42E9-B96A-808F93B6FC42}"/>
          </ac:spMkLst>
        </pc:spChg>
        <pc:spChg chg="mod">
          <ac:chgData name="Lars Ivar" userId="da83bdda-499a-4427-8775-f375be339a54" providerId="ADAL" clId="{9A0F3B70-5B95-42C4-94C3-05567C69E257}" dt="2021-03-15T11:41:19.639" v="4524"/>
          <ac:spMkLst>
            <pc:docMk/>
            <pc:sldMk cId="1671744915" sldId="519"/>
            <ac:spMk id="38" creationId="{44C92D38-655B-45D2-A7D4-CFF472E05382}"/>
          </ac:spMkLst>
        </pc:spChg>
        <pc:spChg chg="mod">
          <ac:chgData name="Lars Ivar" userId="da83bdda-499a-4427-8775-f375be339a54" providerId="ADAL" clId="{9A0F3B70-5B95-42C4-94C3-05567C69E257}" dt="2021-03-15T11:41:19.639" v="4524"/>
          <ac:spMkLst>
            <pc:docMk/>
            <pc:sldMk cId="1671744915" sldId="519"/>
            <ac:spMk id="39" creationId="{E8C57E6F-AED9-4D91-82C2-E2FAB0CA4218}"/>
          </ac:spMkLst>
        </pc:spChg>
        <pc:spChg chg="mod">
          <ac:chgData name="Lars Ivar" userId="da83bdda-499a-4427-8775-f375be339a54" providerId="ADAL" clId="{9A0F3B70-5B95-42C4-94C3-05567C69E257}" dt="2021-03-15T11:41:19.639" v="4524"/>
          <ac:spMkLst>
            <pc:docMk/>
            <pc:sldMk cId="1671744915" sldId="519"/>
            <ac:spMk id="40" creationId="{A5ACCB20-5DD1-43FC-8C8C-D7A0CF07F054}"/>
          </ac:spMkLst>
        </pc:spChg>
        <pc:spChg chg="mod">
          <ac:chgData name="Lars Ivar" userId="da83bdda-499a-4427-8775-f375be339a54" providerId="ADAL" clId="{9A0F3B70-5B95-42C4-94C3-05567C69E257}" dt="2021-03-15T11:41:19.639" v="4524"/>
          <ac:spMkLst>
            <pc:docMk/>
            <pc:sldMk cId="1671744915" sldId="519"/>
            <ac:spMk id="41" creationId="{35650235-5CF6-4DED-9AF1-CA218C34702A}"/>
          </ac:spMkLst>
        </pc:spChg>
        <pc:grpChg chg="add mod">
          <ac:chgData name="Lars Ivar" userId="da83bdda-499a-4427-8775-f375be339a54" providerId="ADAL" clId="{9A0F3B70-5B95-42C4-94C3-05567C69E257}" dt="2021-03-15T11:41:19.639" v="4524"/>
          <ac:grpSpMkLst>
            <pc:docMk/>
            <pc:sldMk cId="1671744915" sldId="519"/>
            <ac:grpSpMk id="24" creationId="{36718EE2-C604-4244-AB89-3DAA2E2E8300}"/>
          </ac:grpSpMkLst>
        </pc:grpChg>
        <pc:grpChg chg="mod">
          <ac:chgData name="Lars Ivar" userId="da83bdda-499a-4427-8775-f375be339a54" providerId="ADAL" clId="{9A0F3B70-5B95-42C4-94C3-05567C69E257}" dt="2021-03-15T11:41:19.639" v="4524"/>
          <ac:grpSpMkLst>
            <pc:docMk/>
            <pc:sldMk cId="1671744915" sldId="519"/>
            <ac:grpSpMk id="25" creationId="{B51C0959-FCCE-4F87-9DD3-78C20369835D}"/>
          </ac:grpSpMkLst>
        </pc:grpChg>
        <pc:grpChg chg="mod">
          <ac:chgData name="Lars Ivar" userId="da83bdda-499a-4427-8775-f375be339a54" providerId="ADAL" clId="{9A0F3B70-5B95-42C4-94C3-05567C69E257}" dt="2021-03-15T11:41:19.639" v="4524"/>
          <ac:grpSpMkLst>
            <pc:docMk/>
            <pc:sldMk cId="1671744915" sldId="519"/>
            <ac:grpSpMk id="26" creationId="{14F85966-244E-4741-B17F-4447886A84FC}"/>
          </ac:grpSpMkLst>
        </pc:grpChg>
        <pc:grpChg chg="mod">
          <ac:chgData name="Lars Ivar" userId="da83bdda-499a-4427-8775-f375be339a54" providerId="ADAL" clId="{9A0F3B70-5B95-42C4-94C3-05567C69E257}" dt="2021-03-15T11:41:19.639" v="4524"/>
          <ac:grpSpMkLst>
            <pc:docMk/>
            <pc:sldMk cId="1671744915" sldId="519"/>
            <ac:grpSpMk id="29" creationId="{847F569D-EFFA-439F-9ED2-BB873118E7B6}"/>
          </ac:grpSpMkLst>
        </pc:grpChg>
        <pc:grpChg chg="mod">
          <ac:chgData name="Lars Ivar" userId="da83bdda-499a-4427-8775-f375be339a54" providerId="ADAL" clId="{9A0F3B70-5B95-42C4-94C3-05567C69E257}" dt="2021-03-15T11:41:19.639" v="4524"/>
          <ac:grpSpMkLst>
            <pc:docMk/>
            <pc:sldMk cId="1671744915" sldId="519"/>
            <ac:grpSpMk id="30" creationId="{423F515B-A53F-46DC-BB17-09AFC322182F}"/>
          </ac:grpSpMkLst>
        </pc:grpChg>
        <pc:grpChg chg="mod">
          <ac:chgData name="Lars Ivar" userId="da83bdda-499a-4427-8775-f375be339a54" providerId="ADAL" clId="{9A0F3B70-5B95-42C4-94C3-05567C69E257}" dt="2021-03-15T11:41:19.639" v="4524"/>
          <ac:grpSpMkLst>
            <pc:docMk/>
            <pc:sldMk cId="1671744915" sldId="519"/>
            <ac:grpSpMk id="31" creationId="{ED1F753D-1C48-4B66-852C-63A00D9C123B}"/>
          </ac:grpSpMkLst>
        </pc:grpChg>
        <pc:grpChg chg="del">
          <ac:chgData name="Lars Ivar" userId="da83bdda-499a-4427-8775-f375be339a54" providerId="ADAL" clId="{9A0F3B70-5B95-42C4-94C3-05567C69E257}" dt="2021-03-15T11:41:19.275" v="4523" actId="478"/>
          <ac:grpSpMkLst>
            <pc:docMk/>
            <pc:sldMk cId="1671744915" sldId="519"/>
            <ac:grpSpMk id="56" creationId="{532701DB-D6C1-4B60-B232-68D28A74B010}"/>
          </ac:grpSpMkLst>
        </pc:grpChg>
        <pc:picChg chg="add del mod">
          <ac:chgData name="Lars Ivar" userId="da83bdda-499a-4427-8775-f375be339a54" providerId="ADAL" clId="{9A0F3B70-5B95-42C4-94C3-05567C69E257}" dt="2021-03-12T12:19:26.099" v="657"/>
          <ac:picMkLst>
            <pc:docMk/>
            <pc:sldMk cId="1671744915" sldId="519"/>
            <ac:picMk id="12290" creationId="{F01B0F45-DC36-4E10-88FA-8BF9A99CFE89}"/>
          </ac:picMkLst>
        </pc:picChg>
        <pc:picChg chg="add del mod">
          <ac:chgData name="Lars Ivar" userId="da83bdda-499a-4427-8775-f375be339a54" providerId="ADAL" clId="{9A0F3B70-5B95-42C4-94C3-05567C69E257}" dt="2021-03-12T12:19:53.609" v="662" actId="478"/>
          <ac:picMkLst>
            <pc:docMk/>
            <pc:sldMk cId="1671744915" sldId="519"/>
            <ac:picMk id="12292" creationId="{4A90381F-5AB6-4AA1-9077-ABAC4829E06A}"/>
          </ac:picMkLst>
        </pc:picChg>
        <pc:picChg chg="add mod">
          <ac:chgData name="Lars Ivar" userId="da83bdda-499a-4427-8775-f375be339a54" providerId="ADAL" clId="{9A0F3B70-5B95-42C4-94C3-05567C69E257}" dt="2021-03-15T10:05:11.335" v="2756" actId="14100"/>
          <ac:picMkLst>
            <pc:docMk/>
            <pc:sldMk cId="1671744915" sldId="519"/>
            <ac:picMk id="12294" creationId="{4C59A170-9E81-4FA0-BA6F-51B8CDACB46A}"/>
          </ac:picMkLst>
        </pc:picChg>
      </pc:sldChg>
      <pc:sldChg chg="addSp delSp modSp mod">
        <pc:chgData name="Lars Ivar" userId="da83bdda-499a-4427-8775-f375be339a54" providerId="ADAL" clId="{9A0F3B70-5B95-42C4-94C3-05567C69E257}" dt="2021-03-15T11:41:12.821" v="4520"/>
        <pc:sldMkLst>
          <pc:docMk/>
          <pc:sldMk cId="1815193164" sldId="520"/>
        </pc:sldMkLst>
        <pc:spChg chg="add del mod">
          <ac:chgData name="Lars Ivar" userId="da83bdda-499a-4427-8775-f375be339a54" providerId="ADAL" clId="{9A0F3B70-5B95-42C4-94C3-05567C69E257}" dt="2021-03-15T08:59:29.920" v="2200" actId="478"/>
          <ac:spMkLst>
            <pc:docMk/>
            <pc:sldMk cId="1815193164" sldId="520"/>
            <ac:spMk id="4" creationId="{311EABB6-F766-42D6-A072-D72D23B28AFF}"/>
          </ac:spMkLst>
        </pc:spChg>
        <pc:spChg chg="add del mod">
          <ac:chgData name="Lars Ivar" userId="da83bdda-499a-4427-8775-f375be339a54" providerId="ADAL" clId="{9A0F3B70-5B95-42C4-94C3-05567C69E257}" dt="2021-03-15T11:41:01.228" v="4515"/>
          <ac:spMkLst>
            <pc:docMk/>
            <pc:sldMk cId="1815193164" sldId="520"/>
            <ac:spMk id="38" creationId="{E2CB2B0D-9639-4056-8345-7D2B6EBF3ABC}"/>
          </ac:spMkLst>
        </pc:spChg>
        <pc:spChg chg="mod">
          <ac:chgData name="Lars Ivar" userId="da83bdda-499a-4427-8775-f375be339a54" providerId="ADAL" clId="{9A0F3B70-5B95-42C4-94C3-05567C69E257}" dt="2021-03-15T08:59:49.315" v="2225" actId="1076"/>
          <ac:spMkLst>
            <pc:docMk/>
            <pc:sldMk cId="1815193164" sldId="520"/>
            <ac:spMk id="47" creationId="{6FACE465-A401-42FE-8EE6-BAF2AB092CA8}"/>
          </ac:spMkLst>
        </pc:spChg>
        <pc:spChg chg="mod">
          <ac:chgData name="Lars Ivar" userId="da83bdda-499a-4427-8775-f375be339a54" providerId="ADAL" clId="{9A0F3B70-5B95-42C4-94C3-05567C69E257}" dt="2021-03-15T08:59:45.311" v="2224" actId="1076"/>
          <ac:spMkLst>
            <pc:docMk/>
            <pc:sldMk cId="1815193164" sldId="520"/>
            <ac:spMk id="48" creationId="{614B6063-F2D3-4AC4-8AE6-4B7769B13440}"/>
          </ac:spMkLst>
        </pc:spChg>
        <pc:spChg chg="mod">
          <ac:chgData name="Lars Ivar" userId="da83bdda-499a-4427-8775-f375be339a54" providerId="ADAL" clId="{9A0F3B70-5B95-42C4-94C3-05567C69E257}" dt="2021-03-15T11:41:12.821" v="4520"/>
          <ac:spMkLst>
            <pc:docMk/>
            <pc:sldMk cId="1815193164" sldId="520"/>
            <ac:spMk id="65" creationId="{B4847560-5F23-4A58-9852-8FD1024A2A48}"/>
          </ac:spMkLst>
        </pc:spChg>
        <pc:spChg chg="mod">
          <ac:chgData name="Lars Ivar" userId="da83bdda-499a-4427-8775-f375be339a54" providerId="ADAL" clId="{9A0F3B70-5B95-42C4-94C3-05567C69E257}" dt="2021-03-15T11:41:12.821" v="4520"/>
          <ac:spMkLst>
            <pc:docMk/>
            <pc:sldMk cId="1815193164" sldId="520"/>
            <ac:spMk id="66" creationId="{5BEA9B7D-9AAD-4E01-9915-FB9D23303504}"/>
          </ac:spMkLst>
        </pc:spChg>
        <pc:spChg chg="mod">
          <ac:chgData name="Lars Ivar" userId="da83bdda-499a-4427-8775-f375be339a54" providerId="ADAL" clId="{9A0F3B70-5B95-42C4-94C3-05567C69E257}" dt="2021-03-15T11:41:12.821" v="4520"/>
          <ac:spMkLst>
            <pc:docMk/>
            <pc:sldMk cId="1815193164" sldId="520"/>
            <ac:spMk id="67" creationId="{40DC24F0-6D51-4C45-A71E-D03CFDF13ACB}"/>
          </ac:spMkLst>
        </pc:spChg>
        <pc:spChg chg="mod">
          <ac:chgData name="Lars Ivar" userId="da83bdda-499a-4427-8775-f375be339a54" providerId="ADAL" clId="{9A0F3B70-5B95-42C4-94C3-05567C69E257}" dt="2021-03-15T11:41:12.821" v="4520"/>
          <ac:spMkLst>
            <pc:docMk/>
            <pc:sldMk cId="1815193164" sldId="520"/>
            <ac:spMk id="68" creationId="{78E4C9A1-20A5-4B90-B477-7727D62FA40B}"/>
          </ac:spMkLst>
        </pc:spChg>
        <pc:spChg chg="mod">
          <ac:chgData name="Lars Ivar" userId="da83bdda-499a-4427-8775-f375be339a54" providerId="ADAL" clId="{9A0F3B70-5B95-42C4-94C3-05567C69E257}" dt="2021-03-15T11:41:12.821" v="4520"/>
          <ac:spMkLst>
            <pc:docMk/>
            <pc:sldMk cId="1815193164" sldId="520"/>
            <ac:spMk id="69" creationId="{09E6F1AE-8176-494A-BFD7-C9432C502235}"/>
          </ac:spMkLst>
        </pc:spChg>
        <pc:spChg chg="mod">
          <ac:chgData name="Lars Ivar" userId="da83bdda-499a-4427-8775-f375be339a54" providerId="ADAL" clId="{9A0F3B70-5B95-42C4-94C3-05567C69E257}" dt="2021-03-15T11:41:12.821" v="4520"/>
          <ac:spMkLst>
            <pc:docMk/>
            <pc:sldMk cId="1815193164" sldId="520"/>
            <ac:spMk id="70" creationId="{89D615FB-4BA2-4A63-B6C8-1F5785980E32}"/>
          </ac:spMkLst>
        </pc:spChg>
        <pc:spChg chg="mod">
          <ac:chgData name="Lars Ivar" userId="da83bdda-499a-4427-8775-f375be339a54" providerId="ADAL" clId="{9A0F3B70-5B95-42C4-94C3-05567C69E257}" dt="2021-03-15T11:41:12.821" v="4520"/>
          <ac:spMkLst>
            <pc:docMk/>
            <pc:sldMk cId="1815193164" sldId="520"/>
            <ac:spMk id="71" creationId="{53B1DC27-8BBC-4160-B5B6-1BBD0958727A}"/>
          </ac:spMkLst>
        </pc:spChg>
        <pc:spChg chg="mod">
          <ac:chgData name="Lars Ivar" userId="da83bdda-499a-4427-8775-f375be339a54" providerId="ADAL" clId="{9A0F3B70-5B95-42C4-94C3-05567C69E257}" dt="2021-03-15T11:41:12.821" v="4520"/>
          <ac:spMkLst>
            <pc:docMk/>
            <pc:sldMk cId="1815193164" sldId="520"/>
            <ac:spMk id="72" creationId="{E8E0EB8D-8C34-46EC-BF4A-8D93EB4E4DAB}"/>
          </ac:spMkLst>
        </pc:spChg>
        <pc:spChg chg="mod">
          <ac:chgData name="Lars Ivar" userId="da83bdda-499a-4427-8775-f375be339a54" providerId="ADAL" clId="{9A0F3B70-5B95-42C4-94C3-05567C69E257}" dt="2021-03-15T11:41:12.821" v="4520"/>
          <ac:spMkLst>
            <pc:docMk/>
            <pc:sldMk cId="1815193164" sldId="520"/>
            <ac:spMk id="73" creationId="{C039D026-83ED-41CE-9572-A78B9CD3361B}"/>
          </ac:spMkLst>
        </pc:spChg>
        <pc:spChg chg="mod">
          <ac:chgData name="Lars Ivar" userId="da83bdda-499a-4427-8775-f375be339a54" providerId="ADAL" clId="{9A0F3B70-5B95-42C4-94C3-05567C69E257}" dt="2021-03-15T11:41:12.821" v="4520"/>
          <ac:spMkLst>
            <pc:docMk/>
            <pc:sldMk cId="1815193164" sldId="520"/>
            <ac:spMk id="74" creationId="{CE6570A2-70FF-4B4C-BBCA-73DCEE565EF0}"/>
          </ac:spMkLst>
        </pc:spChg>
        <pc:grpChg chg="add mod">
          <ac:chgData name="Lars Ivar" userId="da83bdda-499a-4427-8775-f375be339a54" providerId="ADAL" clId="{9A0F3B70-5B95-42C4-94C3-05567C69E257}" dt="2021-03-15T11:41:12.821" v="4520"/>
          <ac:grpSpMkLst>
            <pc:docMk/>
            <pc:sldMk cId="1815193164" sldId="520"/>
            <ac:grpSpMk id="39" creationId="{046C3B74-197C-4CFA-B0B0-D8B358D05B50}"/>
          </ac:grpSpMkLst>
        </pc:grpChg>
        <pc:grpChg chg="mod">
          <ac:chgData name="Lars Ivar" userId="da83bdda-499a-4427-8775-f375be339a54" providerId="ADAL" clId="{9A0F3B70-5B95-42C4-94C3-05567C69E257}" dt="2021-03-15T11:41:12.821" v="4520"/>
          <ac:grpSpMkLst>
            <pc:docMk/>
            <pc:sldMk cId="1815193164" sldId="520"/>
            <ac:grpSpMk id="40" creationId="{8649DE04-F9E8-40E9-8973-2EDC66CE8A05}"/>
          </ac:grpSpMkLst>
        </pc:grpChg>
        <pc:grpChg chg="mod">
          <ac:chgData name="Lars Ivar" userId="da83bdda-499a-4427-8775-f375be339a54" providerId="ADAL" clId="{9A0F3B70-5B95-42C4-94C3-05567C69E257}" dt="2021-03-15T11:41:12.821" v="4520"/>
          <ac:grpSpMkLst>
            <pc:docMk/>
            <pc:sldMk cId="1815193164" sldId="520"/>
            <ac:grpSpMk id="41" creationId="{148A0507-FE5F-4CD0-B45E-813EDEBBC556}"/>
          </ac:grpSpMkLst>
        </pc:grpChg>
        <pc:grpChg chg="mod">
          <ac:chgData name="Lars Ivar" userId="da83bdda-499a-4427-8775-f375be339a54" providerId="ADAL" clId="{9A0F3B70-5B95-42C4-94C3-05567C69E257}" dt="2021-03-15T11:41:12.821" v="4520"/>
          <ac:grpSpMkLst>
            <pc:docMk/>
            <pc:sldMk cId="1815193164" sldId="520"/>
            <ac:grpSpMk id="42" creationId="{B2830C9D-89D0-4DCF-988F-32D26D48F090}"/>
          </ac:grpSpMkLst>
        </pc:grpChg>
        <pc:grpChg chg="add del">
          <ac:chgData name="Lars Ivar" userId="da83bdda-499a-4427-8775-f375be339a54" providerId="ADAL" clId="{9A0F3B70-5B95-42C4-94C3-05567C69E257}" dt="2021-03-15T11:41:12.510" v="4519" actId="478"/>
          <ac:grpSpMkLst>
            <pc:docMk/>
            <pc:sldMk cId="1815193164" sldId="520"/>
            <ac:grpSpMk id="43" creationId="{23E692BB-F0FE-4CFB-BA64-30B4DA8D1313}"/>
          </ac:grpSpMkLst>
        </pc:grpChg>
        <pc:grpChg chg="mod">
          <ac:chgData name="Lars Ivar" userId="da83bdda-499a-4427-8775-f375be339a54" providerId="ADAL" clId="{9A0F3B70-5B95-42C4-94C3-05567C69E257}" dt="2021-03-15T11:41:12.821" v="4520"/>
          <ac:grpSpMkLst>
            <pc:docMk/>
            <pc:sldMk cId="1815193164" sldId="520"/>
            <ac:grpSpMk id="63" creationId="{7E997EBB-619A-4E8C-A203-1F6EF11D3E5A}"/>
          </ac:grpSpMkLst>
        </pc:grpChg>
        <pc:grpChg chg="mod">
          <ac:chgData name="Lars Ivar" userId="da83bdda-499a-4427-8775-f375be339a54" providerId="ADAL" clId="{9A0F3B70-5B95-42C4-94C3-05567C69E257}" dt="2021-03-15T11:41:12.821" v="4520"/>
          <ac:grpSpMkLst>
            <pc:docMk/>
            <pc:sldMk cId="1815193164" sldId="520"/>
            <ac:grpSpMk id="64" creationId="{61332E22-EC2A-41BD-8E7F-9FFA4520648C}"/>
          </ac:grpSpMkLst>
        </pc:grpChg>
        <pc:picChg chg="add mod">
          <ac:chgData name="Lars Ivar" userId="da83bdda-499a-4427-8775-f375be339a54" providerId="ADAL" clId="{9A0F3B70-5B95-42C4-94C3-05567C69E257}" dt="2021-03-15T08:58:11.509" v="2186" actId="14100"/>
          <ac:picMkLst>
            <pc:docMk/>
            <pc:sldMk cId="1815193164" sldId="520"/>
            <ac:picMk id="3" creationId="{6A6E19E9-616A-4BA0-87CB-D34508D6C7B2}"/>
          </ac:picMkLst>
        </pc:picChg>
        <pc:picChg chg="add del mod">
          <ac:chgData name="Lars Ivar" userId="da83bdda-499a-4427-8775-f375be339a54" providerId="ADAL" clId="{9A0F3B70-5B95-42C4-94C3-05567C69E257}" dt="2021-03-15T09:00:35.941" v="2230" actId="478"/>
          <ac:picMkLst>
            <pc:docMk/>
            <pc:sldMk cId="1815193164" sldId="520"/>
            <ac:picMk id="6" creationId="{1D64759A-F798-4629-AD4A-17C29D0F956E}"/>
          </ac:picMkLst>
        </pc:picChg>
        <pc:picChg chg="add del mod">
          <ac:chgData name="Lars Ivar" userId="da83bdda-499a-4427-8775-f375be339a54" providerId="ADAL" clId="{9A0F3B70-5B95-42C4-94C3-05567C69E257}" dt="2021-03-15T09:01:51.849" v="2236" actId="478"/>
          <ac:picMkLst>
            <pc:docMk/>
            <pc:sldMk cId="1815193164" sldId="520"/>
            <ac:picMk id="10" creationId="{341C8238-25EE-4718-A135-6C6585405ABB}"/>
          </ac:picMkLst>
        </pc:picChg>
        <pc:picChg chg="add mod">
          <ac:chgData name="Lars Ivar" userId="da83bdda-499a-4427-8775-f375be339a54" providerId="ADAL" clId="{9A0F3B70-5B95-42C4-94C3-05567C69E257}" dt="2021-03-15T09:01:58.519" v="2241" actId="1076"/>
          <ac:picMkLst>
            <pc:docMk/>
            <pc:sldMk cId="1815193164" sldId="520"/>
            <ac:picMk id="13" creationId="{55BFCE9D-575C-4E1F-B29C-F7917CF1F2D5}"/>
          </ac:picMkLst>
        </pc:picChg>
        <pc:picChg chg="mod">
          <ac:chgData name="Lars Ivar" userId="da83bdda-499a-4427-8775-f375be339a54" providerId="ADAL" clId="{9A0F3B70-5B95-42C4-94C3-05567C69E257}" dt="2021-03-15T08:59:40.486" v="2223" actId="1038"/>
          <ac:picMkLst>
            <pc:docMk/>
            <pc:sldMk cId="1815193164" sldId="520"/>
            <ac:picMk id="45" creationId="{2499C2AF-B6CF-436A-83AC-633B8F623B38}"/>
          </ac:picMkLst>
        </pc:picChg>
        <pc:picChg chg="mod">
          <ac:chgData name="Lars Ivar" userId="da83bdda-499a-4427-8775-f375be339a54" providerId="ADAL" clId="{9A0F3B70-5B95-42C4-94C3-05567C69E257}" dt="2021-03-15T08:59:40.486" v="2223" actId="1038"/>
          <ac:picMkLst>
            <pc:docMk/>
            <pc:sldMk cId="1815193164" sldId="520"/>
            <ac:picMk id="46" creationId="{1B1DEA2F-2451-443E-AB78-BA25B9CF9654}"/>
          </ac:picMkLst>
        </pc:picChg>
        <pc:cxnChg chg="add del">
          <ac:chgData name="Lars Ivar" userId="da83bdda-499a-4427-8775-f375be339a54" providerId="ADAL" clId="{9A0F3B70-5B95-42C4-94C3-05567C69E257}" dt="2021-03-15T09:00:15.531" v="2229" actId="478"/>
          <ac:cxnSpMkLst>
            <pc:docMk/>
            <pc:sldMk cId="1815193164" sldId="520"/>
            <ac:cxnSpMk id="8" creationId="{3E732CA4-30D3-42A1-8752-29E5ADA64B56}"/>
          </ac:cxnSpMkLst>
        </pc:cxnChg>
      </pc:sldChg>
      <pc:sldChg chg="addSp delSp modSp mod modNotesTx">
        <pc:chgData name="Lars Ivar" userId="da83bdda-499a-4427-8775-f375be339a54" providerId="ADAL" clId="{9A0F3B70-5B95-42C4-94C3-05567C69E257}" dt="2021-03-17T20:26:52.592" v="6966" actId="1076"/>
        <pc:sldMkLst>
          <pc:docMk/>
          <pc:sldMk cId="3164644392" sldId="521"/>
        </pc:sldMkLst>
        <pc:spChg chg="mod">
          <ac:chgData name="Lars Ivar" userId="da83bdda-499a-4427-8775-f375be339a54" providerId="ADAL" clId="{9A0F3B70-5B95-42C4-94C3-05567C69E257}" dt="2021-03-15T08:52:18.971" v="2113" actId="20577"/>
          <ac:spMkLst>
            <pc:docMk/>
            <pc:sldMk cId="3164644392" sldId="521"/>
            <ac:spMk id="28" creationId="{48703A56-96F6-4216-B29F-75E1A68FEBED}"/>
          </ac:spMkLst>
        </pc:spChg>
        <pc:spChg chg="mod">
          <ac:chgData name="Lars Ivar" userId="da83bdda-499a-4427-8775-f375be339a54" providerId="ADAL" clId="{9A0F3B70-5B95-42C4-94C3-05567C69E257}" dt="2021-03-15T11:41:15.831" v="4522"/>
          <ac:spMkLst>
            <pc:docMk/>
            <pc:sldMk cId="3164644392" sldId="521"/>
            <ac:spMk id="34" creationId="{F690C81A-B0B9-406A-A493-31EFE65F5CA8}"/>
          </ac:spMkLst>
        </pc:spChg>
        <pc:spChg chg="mod">
          <ac:chgData name="Lars Ivar" userId="da83bdda-499a-4427-8775-f375be339a54" providerId="ADAL" clId="{9A0F3B70-5B95-42C4-94C3-05567C69E257}" dt="2021-03-15T11:41:15.831" v="4522"/>
          <ac:spMkLst>
            <pc:docMk/>
            <pc:sldMk cId="3164644392" sldId="521"/>
            <ac:spMk id="35" creationId="{669A4F85-D3BC-4894-B21B-5D9FBA59286F}"/>
          </ac:spMkLst>
        </pc:spChg>
        <pc:spChg chg="mod">
          <ac:chgData name="Lars Ivar" userId="da83bdda-499a-4427-8775-f375be339a54" providerId="ADAL" clId="{9A0F3B70-5B95-42C4-94C3-05567C69E257}" dt="2021-03-15T11:41:15.831" v="4522"/>
          <ac:spMkLst>
            <pc:docMk/>
            <pc:sldMk cId="3164644392" sldId="521"/>
            <ac:spMk id="36" creationId="{2E4FF637-BCF7-40CC-AACA-9C7DD09B4082}"/>
          </ac:spMkLst>
        </pc:spChg>
        <pc:spChg chg="mod">
          <ac:chgData name="Lars Ivar" userId="da83bdda-499a-4427-8775-f375be339a54" providerId="ADAL" clId="{9A0F3B70-5B95-42C4-94C3-05567C69E257}" dt="2021-03-15T11:41:15.831" v="4522"/>
          <ac:spMkLst>
            <pc:docMk/>
            <pc:sldMk cId="3164644392" sldId="521"/>
            <ac:spMk id="37" creationId="{4EEBB901-852A-4226-920C-CA440AAE2958}"/>
          </ac:spMkLst>
        </pc:spChg>
        <pc:spChg chg="mod">
          <ac:chgData name="Lars Ivar" userId="da83bdda-499a-4427-8775-f375be339a54" providerId="ADAL" clId="{9A0F3B70-5B95-42C4-94C3-05567C69E257}" dt="2021-03-15T11:41:15.831" v="4522"/>
          <ac:spMkLst>
            <pc:docMk/>
            <pc:sldMk cId="3164644392" sldId="521"/>
            <ac:spMk id="38" creationId="{30B59916-21F8-45F4-BC0A-435EDC23DC2F}"/>
          </ac:spMkLst>
        </pc:spChg>
        <pc:spChg chg="mod">
          <ac:chgData name="Lars Ivar" userId="da83bdda-499a-4427-8775-f375be339a54" providerId="ADAL" clId="{9A0F3B70-5B95-42C4-94C3-05567C69E257}" dt="2021-03-15T11:41:15.831" v="4522"/>
          <ac:spMkLst>
            <pc:docMk/>
            <pc:sldMk cId="3164644392" sldId="521"/>
            <ac:spMk id="39" creationId="{093CC3DD-5CB6-474D-AB17-4237056353BF}"/>
          </ac:spMkLst>
        </pc:spChg>
        <pc:spChg chg="mod">
          <ac:chgData name="Lars Ivar" userId="da83bdda-499a-4427-8775-f375be339a54" providerId="ADAL" clId="{9A0F3B70-5B95-42C4-94C3-05567C69E257}" dt="2021-03-15T11:41:15.831" v="4522"/>
          <ac:spMkLst>
            <pc:docMk/>
            <pc:sldMk cId="3164644392" sldId="521"/>
            <ac:spMk id="40" creationId="{CBE50A7B-6649-43F6-9573-1D85D759ED70}"/>
          </ac:spMkLst>
        </pc:spChg>
        <pc:spChg chg="mod">
          <ac:chgData name="Lars Ivar" userId="da83bdda-499a-4427-8775-f375be339a54" providerId="ADAL" clId="{9A0F3B70-5B95-42C4-94C3-05567C69E257}" dt="2021-03-15T11:41:15.831" v="4522"/>
          <ac:spMkLst>
            <pc:docMk/>
            <pc:sldMk cId="3164644392" sldId="521"/>
            <ac:spMk id="41" creationId="{8E811913-523D-4C60-9553-26B747277905}"/>
          </ac:spMkLst>
        </pc:spChg>
        <pc:spChg chg="mod">
          <ac:chgData name="Lars Ivar" userId="da83bdda-499a-4427-8775-f375be339a54" providerId="ADAL" clId="{9A0F3B70-5B95-42C4-94C3-05567C69E257}" dt="2021-03-15T11:41:15.831" v="4522"/>
          <ac:spMkLst>
            <pc:docMk/>
            <pc:sldMk cId="3164644392" sldId="521"/>
            <ac:spMk id="42" creationId="{27E4C99E-E0F4-434D-9BD3-99F209975DBC}"/>
          </ac:spMkLst>
        </pc:spChg>
        <pc:spChg chg="mod">
          <ac:chgData name="Lars Ivar" userId="da83bdda-499a-4427-8775-f375be339a54" providerId="ADAL" clId="{9A0F3B70-5B95-42C4-94C3-05567C69E257}" dt="2021-03-15T11:41:15.831" v="4522"/>
          <ac:spMkLst>
            <pc:docMk/>
            <pc:sldMk cId="3164644392" sldId="521"/>
            <ac:spMk id="57" creationId="{D53ADB1B-EE34-4242-9C0F-4320F9D51A41}"/>
          </ac:spMkLst>
        </pc:spChg>
        <pc:grpChg chg="del">
          <ac:chgData name="Lars Ivar" userId="da83bdda-499a-4427-8775-f375be339a54" providerId="ADAL" clId="{9A0F3B70-5B95-42C4-94C3-05567C69E257}" dt="2021-03-15T11:41:15.511" v="4521" actId="478"/>
          <ac:grpSpMkLst>
            <pc:docMk/>
            <pc:sldMk cId="3164644392" sldId="521"/>
            <ac:grpSpMk id="23" creationId="{967022C4-FB90-47BC-8B7F-0AAC97A18B3B}"/>
          </ac:grpSpMkLst>
        </pc:grpChg>
        <pc:grpChg chg="add mod">
          <ac:chgData name="Lars Ivar" userId="da83bdda-499a-4427-8775-f375be339a54" providerId="ADAL" clId="{9A0F3B70-5B95-42C4-94C3-05567C69E257}" dt="2021-03-15T11:41:15.831" v="4522"/>
          <ac:grpSpMkLst>
            <pc:docMk/>
            <pc:sldMk cId="3164644392" sldId="521"/>
            <ac:grpSpMk id="25" creationId="{2493AD21-6C90-4C83-AA42-5F2EF31CD274}"/>
          </ac:grpSpMkLst>
        </pc:grpChg>
        <pc:grpChg chg="mod">
          <ac:chgData name="Lars Ivar" userId="da83bdda-499a-4427-8775-f375be339a54" providerId="ADAL" clId="{9A0F3B70-5B95-42C4-94C3-05567C69E257}" dt="2021-03-15T11:41:15.831" v="4522"/>
          <ac:grpSpMkLst>
            <pc:docMk/>
            <pc:sldMk cId="3164644392" sldId="521"/>
            <ac:grpSpMk id="29" creationId="{59706D8E-0C0F-4414-9076-65ADE0294129}"/>
          </ac:grpSpMkLst>
        </pc:grpChg>
        <pc:grpChg chg="mod">
          <ac:chgData name="Lars Ivar" userId="da83bdda-499a-4427-8775-f375be339a54" providerId="ADAL" clId="{9A0F3B70-5B95-42C4-94C3-05567C69E257}" dt="2021-03-15T11:41:15.831" v="4522"/>
          <ac:grpSpMkLst>
            <pc:docMk/>
            <pc:sldMk cId="3164644392" sldId="521"/>
            <ac:grpSpMk id="30" creationId="{80D60098-6B86-46AC-BF89-93C5A53B8FC8}"/>
          </ac:grpSpMkLst>
        </pc:grpChg>
        <pc:grpChg chg="mod">
          <ac:chgData name="Lars Ivar" userId="da83bdda-499a-4427-8775-f375be339a54" providerId="ADAL" clId="{9A0F3B70-5B95-42C4-94C3-05567C69E257}" dt="2021-03-15T11:41:15.831" v="4522"/>
          <ac:grpSpMkLst>
            <pc:docMk/>
            <pc:sldMk cId="3164644392" sldId="521"/>
            <ac:grpSpMk id="31" creationId="{BDE09BBE-111A-4B80-B888-50940E0CBC73}"/>
          </ac:grpSpMkLst>
        </pc:grpChg>
        <pc:grpChg chg="mod">
          <ac:chgData name="Lars Ivar" userId="da83bdda-499a-4427-8775-f375be339a54" providerId="ADAL" clId="{9A0F3B70-5B95-42C4-94C3-05567C69E257}" dt="2021-03-15T11:41:15.831" v="4522"/>
          <ac:grpSpMkLst>
            <pc:docMk/>
            <pc:sldMk cId="3164644392" sldId="521"/>
            <ac:grpSpMk id="32" creationId="{C4AA9554-6CE5-4ACB-AB69-130BF71870AC}"/>
          </ac:grpSpMkLst>
        </pc:grpChg>
        <pc:grpChg chg="mod">
          <ac:chgData name="Lars Ivar" userId="da83bdda-499a-4427-8775-f375be339a54" providerId="ADAL" clId="{9A0F3B70-5B95-42C4-94C3-05567C69E257}" dt="2021-03-15T11:41:15.831" v="4522"/>
          <ac:grpSpMkLst>
            <pc:docMk/>
            <pc:sldMk cId="3164644392" sldId="521"/>
            <ac:grpSpMk id="33" creationId="{F71BAA69-0C3C-4733-A454-94CAA30E973C}"/>
          </ac:grpSpMkLst>
        </pc:grpChg>
        <pc:picChg chg="mod">
          <ac:chgData name="Lars Ivar" userId="da83bdda-499a-4427-8775-f375be339a54" providerId="ADAL" clId="{9A0F3B70-5B95-42C4-94C3-05567C69E257}" dt="2021-03-17T20:26:52.592" v="6966" actId="1076"/>
          <ac:picMkLst>
            <pc:docMk/>
            <pc:sldMk cId="3164644392" sldId="521"/>
            <ac:picMk id="6" creationId="{C861ADAA-F980-46F1-B2EC-3211409FC10D}"/>
          </ac:picMkLst>
        </pc:picChg>
      </pc:sldChg>
      <pc:sldChg chg="addSp delSp modSp mod modNotesTx">
        <pc:chgData name="Lars Ivar" userId="da83bdda-499a-4427-8775-f375be339a54" providerId="ADAL" clId="{9A0F3B70-5B95-42C4-94C3-05567C69E257}" dt="2021-03-15T11:41:25.512" v="4528"/>
        <pc:sldMkLst>
          <pc:docMk/>
          <pc:sldMk cId="818789249" sldId="526"/>
        </pc:sldMkLst>
        <pc:spChg chg="mod">
          <ac:chgData name="Lars Ivar" userId="da83bdda-499a-4427-8775-f375be339a54" providerId="ADAL" clId="{9A0F3B70-5B95-42C4-94C3-05567C69E257}" dt="2021-03-15T10:05:33.723" v="2764"/>
          <ac:spMkLst>
            <pc:docMk/>
            <pc:sldMk cId="818789249" sldId="526"/>
            <ac:spMk id="49" creationId="{AC4FBC32-8239-4A41-80B2-C1A79C3485BF}"/>
          </ac:spMkLst>
        </pc:spChg>
        <pc:spChg chg="mod">
          <ac:chgData name="Lars Ivar" userId="da83bdda-499a-4427-8775-f375be339a54" providerId="ADAL" clId="{9A0F3B70-5B95-42C4-94C3-05567C69E257}" dt="2021-03-15T10:05:33.723" v="2764"/>
          <ac:spMkLst>
            <pc:docMk/>
            <pc:sldMk cId="818789249" sldId="526"/>
            <ac:spMk id="50" creationId="{13BD4D6E-82AE-4305-AC73-95471B0DDF43}"/>
          </ac:spMkLst>
        </pc:spChg>
        <pc:spChg chg="mod">
          <ac:chgData name="Lars Ivar" userId="da83bdda-499a-4427-8775-f375be339a54" providerId="ADAL" clId="{9A0F3B70-5B95-42C4-94C3-05567C69E257}" dt="2021-03-15T10:05:33.723" v="2764"/>
          <ac:spMkLst>
            <pc:docMk/>
            <pc:sldMk cId="818789249" sldId="526"/>
            <ac:spMk id="51" creationId="{8FE8C83C-58A2-409A-9FA6-6A6BFB49AAA0}"/>
          </ac:spMkLst>
        </pc:spChg>
        <pc:spChg chg="mod">
          <ac:chgData name="Lars Ivar" userId="da83bdda-499a-4427-8775-f375be339a54" providerId="ADAL" clId="{9A0F3B70-5B95-42C4-94C3-05567C69E257}" dt="2021-03-15T10:05:33.723" v="2764"/>
          <ac:spMkLst>
            <pc:docMk/>
            <pc:sldMk cId="818789249" sldId="526"/>
            <ac:spMk id="52" creationId="{2B38C063-3608-43DC-A25F-BCDA3F054F68}"/>
          </ac:spMkLst>
        </pc:spChg>
        <pc:spChg chg="mod">
          <ac:chgData name="Lars Ivar" userId="da83bdda-499a-4427-8775-f375be339a54" providerId="ADAL" clId="{9A0F3B70-5B95-42C4-94C3-05567C69E257}" dt="2021-03-15T10:05:33.723" v="2764"/>
          <ac:spMkLst>
            <pc:docMk/>
            <pc:sldMk cId="818789249" sldId="526"/>
            <ac:spMk id="53" creationId="{1596389D-C3C7-4462-8321-DC9D3EA42E72}"/>
          </ac:spMkLst>
        </pc:spChg>
        <pc:spChg chg="mod">
          <ac:chgData name="Lars Ivar" userId="da83bdda-499a-4427-8775-f375be339a54" providerId="ADAL" clId="{9A0F3B70-5B95-42C4-94C3-05567C69E257}" dt="2021-03-15T10:05:33.723" v="2764"/>
          <ac:spMkLst>
            <pc:docMk/>
            <pc:sldMk cId="818789249" sldId="526"/>
            <ac:spMk id="54" creationId="{7F179E6E-03BC-44C8-8F08-DFBA602B4FD4}"/>
          </ac:spMkLst>
        </pc:spChg>
        <pc:spChg chg="mod">
          <ac:chgData name="Lars Ivar" userId="da83bdda-499a-4427-8775-f375be339a54" providerId="ADAL" clId="{9A0F3B70-5B95-42C4-94C3-05567C69E257}" dt="2021-03-15T10:05:33.723" v="2764"/>
          <ac:spMkLst>
            <pc:docMk/>
            <pc:sldMk cId="818789249" sldId="526"/>
            <ac:spMk id="55" creationId="{58AAC5B2-C01D-4D81-9812-088C15693404}"/>
          </ac:spMkLst>
        </pc:spChg>
        <pc:spChg chg="mod">
          <ac:chgData name="Lars Ivar" userId="da83bdda-499a-4427-8775-f375be339a54" providerId="ADAL" clId="{9A0F3B70-5B95-42C4-94C3-05567C69E257}" dt="2021-03-15T10:05:33.723" v="2764"/>
          <ac:spMkLst>
            <pc:docMk/>
            <pc:sldMk cId="818789249" sldId="526"/>
            <ac:spMk id="56" creationId="{607A787F-59A4-4F3D-B9D0-A49603E05519}"/>
          </ac:spMkLst>
        </pc:spChg>
        <pc:spChg chg="mod">
          <ac:chgData name="Lars Ivar" userId="da83bdda-499a-4427-8775-f375be339a54" providerId="ADAL" clId="{9A0F3B70-5B95-42C4-94C3-05567C69E257}" dt="2021-03-15T10:05:33.723" v="2764"/>
          <ac:spMkLst>
            <pc:docMk/>
            <pc:sldMk cId="818789249" sldId="526"/>
            <ac:spMk id="57" creationId="{72554D56-3805-4721-B219-3F0D258AA86F}"/>
          </ac:spMkLst>
        </pc:spChg>
        <pc:spChg chg="mod">
          <ac:chgData name="Lars Ivar" userId="da83bdda-499a-4427-8775-f375be339a54" providerId="ADAL" clId="{9A0F3B70-5B95-42C4-94C3-05567C69E257}" dt="2021-03-15T10:05:33.723" v="2764"/>
          <ac:spMkLst>
            <pc:docMk/>
            <pc:sldMk cId="818789249" sldId="526"/>
            <ac:spMk id="58" creationId="{4C819225-5CC1-4EE0-A1C3-B558E8E35288}"/>
          </ac:spMkLst>
        </pc:spChg>
        <pc:spChg chg="mod">
          <ac:chgData name="Lars Ivar" userId="da83bdda-499a-4427-8775-f375be339a54" providerId="ADAL" clId="{9A0F3B70-5B95-42C4-94C3-05567C69E257}" dt="2021-03-15T11:41:25.512" v="4528"/>
          <ac:spMkLst>
            <pc:docMk/>
            <pc:sldMk cId="818789249" sldId="526"/>
            <ac:spMk id="65" creationId="{0C559029-258C-4528-A6E0-CEFA795A7A64}"/>
          </ac:spMkLst>
        </pc:spChg>
        <pc:spChg chg="mod">
          <ac:chgData name="Lars Ivar" userId="da83bdda-499a-4427-8775-f375be339a54" providerId="ADAL" clId="{9A0F3B70-5B95-42C4-94C3-05567C69E257}" dt="2021-03-15T11:41:25.512" v="4528"/>
          <ac:spMkLst>
            <pc:docMk/>
            <pc:sldMk cId="818789249" sldId="526"/>
            <ac:spMk id="66" creationId="{4BC10670-9E4D-4C48-83E2-1B4A74677F0B}"/>
          </ac:spMkLst>
        </pc:spChg>
        <pc:spChg chg="mod">
          <ac:chgData name="Lars Ivar" userId="da83bdda-499a-4427-8775-f375be339a54" providerId="ADAL" clId="{9A0F3B70-5B95-42C4-94C3-05567C69E257}" dt="2021-03-15T11:41:25.512" v="4528"/>
          <ac:spMkLst>
            <pc:docMk/>
            <pc:sldMk cId="818789249" sldId="526"/>
            <ac:spMk id="67" creationId="{C93A237B-EF83-4F3E-AA24-5BB6DA295670}"/>
          </ac:spMkLst>
        </pc:spChg>
        <pc:spChg chg="mod">
          <ac:chgData name="Lars Ivar" userId="da83bdda-499a-4427-8775-f375be339a54" providerId="ADAL" clId="{9A0F3B70-5B95-42C4-94C3-05567C69E257}" dt="2021-03-15T11:41:25.512" v="4528"/>
          <ac:spMkLst>
            <pc:docMk/>
            <pc:sldMk cId="818789249" sldId="526"/>
            <ac:spMk id="68" creationId="{35C1FB5E-7648-49AF-ABCC-67A26FFDCEF6}"/>
          </ac:spMkLst>
        </pc:spChg>
        <pc:spChg chg="mod">
          <ac:chgData name="Lars Ivar" userId="da83bdda-499a-4427-8775-f375be339a54" providerId="ADAL" clId="{9A0F3B70-5B95-42C4-94C3-05567C69E257}" dt="2021-03-15T11:41:25.512" v="4528"/>
          <ac:spMkLst>
            <pc:docMk/>
            <pc:sldMk cId="818789249" sldId="526"/>
            <ac:spMk id="69" creationId="{D53810A9-96AA-4585-8B8D-35EFA8B41A22}"/>
          </ac:spMkLst>
        </pc:spChg>
        <pc:spChg chg="mod">
          <ac:chgData name="Lars Ivar" userId="da83bdda-499a-4427-8775-f375be339a54" providerId="ADAL" clId="{9A0F3B70-5B95-42C4-94C3-05567C69E257}" dt="2021-03-15T11:41:25.512" v="4528"/>
          <ac:spMkLst>
            <pc:docMk/>
            <pc:sldMk cId="818789249" sldId="526"/>
            <ac:spMk id="70" creationId="{683F6F93-CFBA-4C1C-B6FB-6F8C006F07A1}"/>
          </ac:spMkLst>
        </pc:spChg>
        <pc:spChg chg="mod">
          <ac:chgData name="Lars Ivar" userId="da83bdda-499a-4427-8775-f375be339a54" providerId="ADAL" clId="{9A0F3B70-5B95-42C4-94C3-05567C69E257}" dt="2021-03-15T11:41:25.512" v="4528"/>
          <ac:spMkLst>
            <pc:docMk/>
            <pc:sldMk cId="818789249" sldId="526"/>
            <ac:spMk id="71" creationId="{BE8E7DCD-E904-406E-87A9-F84049B59F2C}"/>
          </ac:spMkLst>
        </pc:spChg>
        <pc:spChg chg="mod">
          <ac:chgData name="Lars Ivar" userId="da83bdda-499a-4427-8775-f375be339a54" providerId="ADAL" clId="{9A0F3B70-5B95-42C4-94C3-05567C69E257}" dt="2021-03-15T11:41:25.512" v="4528"/>
          <ac:spMkLst>
            <pc:docMk/>
            <pc:sldMk cId="818789249" sldId="526"/>
            <ac:spMk id="72" creationId="{E0034DE2-4E24-4817-B471-9E46CF12DAB4}"/>
          </ac:spMkLst>
        </pc:spChg>
        <pc:spChg chg="mod">
          <ac:chgData name="Lars Ivar" userId="da83bdda-499a-4427-8775-f375be339a54" providerId="ADAL" clId="{9A0F3B70-5B95-42C4-94C3-05567C69E257}" dt="2021-03-15T11:41:25.512" v="4528"/>
          <ac:spMkLst>
            <pc:docMk/>
            <pc:sldMk cId="818789249" sldId="526"/>
            <ac:spMk id="73" creationId="{35B30597-3472-45F0-A3AB-70E750365B28}"/>
          </ac:spMkLst>
        </pc:spChg>
        <pc:spChg chg="mod">
          <ac:chgData name="Lars Ivar" userId="da83bdda-499a-4427-8775-f375be339a54" providerId="ADAL" clId="{9A0F3B70-5B95-42C4-94C3-05567C69E257}" dt="2021-03-15T11:41:25.512" v="4528"/>
          <ac:spMkLst>
            <pc:docMk/>
            <pc:sldMk cId="818789249" sldId="526"/>
            <ac:spMk id="74" creationId="{A12D3333-D42E-46E8-9FC7-C7A059574AA4}"/>
          </ac:spMkLst>
        </pc:spChg>
        <pc:grpChg chg="add del mod">
          <ac:chgData name="Lars Ivar" userId="da83bdda-499a-4427-8775-f375be339a54" providerId="ADAL" clId="{9A0F3B70-5B95-42C4-94C3-05567C69E257}" dt="2021-03-15T11:41:25.258" v="4527" actId="478"/>
          <ac:grpSpMkLst>
            <pc:docMk/>
            <pc:sldMk cId="818789249" sldId="526"/>
            <ac:grpSpMk id="24" creationId="{81870011-C404-409B-B0C0-4E5AB6C1ED02}"/>
          </ac:grpSpMkLst>
        </pc:grpChg>
        <pc:grpChg chg="del">
          <ac:chgData name="Lars Ivar" userId="da83bdda-499a-4427-8775-f375be339a54" providerId="ADAL" clId="{9A0F3B70-5B95-42C4-94C3-05567C69E257}" dt="2021-03-15T10:05:29.221" v="2763" actId="478"/>
          <ac:grpSpMkLst>
            <pc:docMk/>
            <pc:sldMk cId="818789249" sldId="526"/>
            <ac:grpSpMk id="25" creationId="{0F9B27B9-640B-4A52-AAF6-8A48C7C5619E}"/>
          </ac:grpSpMkLst>
        </pc:grpChg>
        <pc:grpChg chg="mod">
          <ac:chgData name="Lars Ivar" userId="da83bdda-499a-4427-8775-f375be339a54" providerId="ADAL" clId="{9A0F3B70-5B95-42C4-94C3-05567C69E257}" dt="2021-03-15T10:05:33.723" v="2764"/>
          <ac:grpSpMkLst>
            <pc:docMk/>
            <pc:sldMk cId="818789249" sldId="526"/>
            <ac:grpSpMk id="44" creationId="{3132E3A8-0119-464D-9170-CBF21CF4C027}"/>
          </ac:grpSpMkLst>
        </pc:grpChg>
        <pc:grpChg chg="mod">
          <ac:chgData name="Lars Ivar" userId="da83bdda-499a-4427-8775-f375be339a54" providerId="ADAL" clId="{9A0F3B70-5B95-42C4-94C3-05567C69E257}" dt="2021-03-15T10:05:33.723" v="2764"/>
          <ac:grpSpMkLst>
            <pc:docMk/>
            <pc:sldMk cId="818789249" sldId="526"/>
            <ac:grpSpMk id="45" creationId="{6488232D-85D0-4E66-9DBC-263382CABBA9}"/>
          </ac:grpSpMkLst>
        </pc:grpChg>
        <pc:grpChg chg="mod">
          <ac:chgData name="Lars Ivar" userId="da83bdda-499a-4427-8775-f375be339a54" providerId="ADAL" clId="{9A0F3B70-5B95-42C4-94C3-05567C69E257}" dt="2021-03-15T10:05:33.723" v="2764"/>
          <ac:grpSpMkLst>
            <pc:docMk/>
            <pc:sldMk cId="818789249" sldId="526"/>
            <ac:grpSpMk id="46" creationId="{F3A6AA77-F6F3-4274-9CF7-7F50008DD451}"/>
          </ac:grpSpMkLst>
        </pc:grpChg>
        <pc:grpChg chg="mod">
          <ac:chgData name="Lars Ivar" userId="da83bdda-499a-4427-8775-f375be339a54" providerId="ADAL" clId="{9A0F3B70-5B95-42C4-94C3-05567C69E257}" dt="2021-03-15T10:05:33.723" v="2764"/>
          <ac:grpSpMkLst>
            <pc:docMk/>
            <pc:sldMk cId="818789249" sldId="526"/>
            <ac:grpSpMk id="47" creationId="{DE046557-30B2-4278-A331-9D8454FE3F8D}"/>
          </ac:grpSpMkLst>
        </pc:grpChg>
        <pc:grpChg chg="mod">
          <ac:chgData name="Lars Ivar" userId="da83bdda-499a-4427-8775-f375be339a54" providerId="ADAL" clId="{9A0F3B70-5B95-42C4-94C3-05567C69E257}" dt="2021-03-15T10:05:33.723" v="2764"/>
          <ac:grpSpMkLst>
            <pc:docMk/>
            <pc:sldMk cId="818789249" sldId="526"/>
            <ac:grpSpMk id="48" creationId="{3247104B-9FC4-4D00-8115-48F1AF21437E}"/>
          </ac:grpSpMkLst>
        </pc:grpChg>
        <pc:grpChg chg="add mod">
          <ac:chgData name="Lars Ivar" userId="da83bdda-499a-4427-8775-f375be339a54" providerId="ADAL" clId="{9A0F3B70-5B95-42C4-94C3-05567C69E257}" dt="2021-03-15T11:41:25.512" v="4528"/>
          <ac:grpSpMkLst>
            <pc:docMk/>
            <pc:sldMk cId="818789249" sldId="526"/>
            <ac:grpSpMk id="59" creationId="{95F4AEFA-2699-41AB-939C-1EFCE754E4D6}"/>
          </ac:grpSpMkLst>
        </pc:grpChg>
        <pc:grpChg chg="mod">
          <ac:chgData name="Lars Ivar" userId="da83bdda-499a-4427-8775-f375be339a54" providerId="ADAL" clId="{9A0F3B70-5B95-42C4-94C3-05567C69E257}" dt="2021-03-15T11:41:25.512" v="4528"/>
          <ac:grpSpMkLst>
            <pc:docMk/>
            <pc:sldMk cId="818789249" sldId="526"/>
            <ac:grpSpMk id="60" creationId="{D8FC32D1-951B-431C-849C-391D2C585E7E}"/>
          </ac:grpSpMkLst>
        </pc:grpChg>
        <pc:grpChg chg="mod">
          <ac:chgData name="Lars Ivar" userId="da83bdda-499a-4427-8775-f375be339a54" providerId="ADAL" clId="{9A0F3B70-5B95-42C4-94C3-05567C69E257}" dt="2021-03-15T11:41:25.512" v="4528"/>
          <ac:grpSpMkLst>
            <pc:docMk/>
            <pc:sldMk cId="818789249" sldId="526"/>
            <ac:grpSpMk id="61" creationId="{19D2C5F5-15D8-4D7A-8FA3-7C33AC3F222B}"/>
          </ac:grpSpMkLst>
        </pc:grpChg>
        <pc:grpChg chg="mod">
          <ac:chgData name="Lars Ivar" userId="da83bdda-499a-4427-8775-f375be339a54" providerId="ADAL" clId="{9A0F3B70-5B95-42C4-94C3-05567C69E257}" dt="2021-03-15T11:41:25.512" v="4528"/>
          <ac:grpSpMkLst>
            <pc:docMk/>
            <pc:sldMk cId="818789249" sldId="526"/>
            <ac:grpSpMk id="62" creationId="{CFD99850-77EB-418C-9B8A-20C968FB3EF9}"/>
          </ac:grpSpMkLst>
        </pc:grpChg>
        <pc:grpChg chg="mod">
          <ac:chgData name="Lars Ivar" userId="da83bdda-499a-4427-8775-f375be339a54" providerId="ADAL" clId="{9A0F3B70-5B95-42C4-94C3-05567C69E257}" dt="2021-03-15T11:41:25.512" v="4528"/>
          <ac:grpSpMkLst>
            <pc:docMk/>
            <pc:sldMk cId="818789249" sldId="526"/>
            <ac:grpSpMk id="63" creationId="{A50F1D99-36DC-4966-9774-0626ADFBFABE}"/>
          </ac:grpSpMkLst>
        </pc:grpChg>
        <pc:grpChg chg="mod">
          <ac:chgData name="Lars Ivar" userId="da83bdda-499a-4427-8775-f375be339a54" providerId="ADAL" clId="{9A0F3B70-5B95-42C4-94C3-05567C69E257}" dt="2021-03-15T11:41:25.512" v="4528"/>
          <ac:grpSpMkLst>
            <pc:docMk/>
            <pc:sldMk cId="818789249" sldId="526"/>
            <ac:grpSpMk id="64" creationId="{211A3134-1762-4533-A27E-B23E69C989E8}"/>
          </ac:grpSpMkLst>
        </pc:grpChg>
        <pc:picChg chg="mod">
          <ac:chgData name="Lars Ivar" userId="da83bdda-499a-4427-8775-f375be339a54" providerId="ADAL" clId="{9A0F3B70-5B95-42C4-94C3-05567C69E257}" dt="2021-03-15T10:05:26.323" v="2762" actId="14100"/>
          <ac:picMkLst>
            <pc:docMk/>
            <pc:sldMk cId="818789249" sldId="526"/>
            <ac:picMk id="43" creationId="{38E628DF-93C7-493E-BC08-0B291E24BC9B}"/>
          </ac:picMkLst>
        </pc:picChg>
      </pc:sldChg>
      <pc:sldChg chg="addSp delSp modSp mod modNotesTx">
        <pc:chgData name="Lars Ivar" userId="da83bdda-499a-4427-8775-f375be339a54" providerId="ADAL" clId="{9A0F3B70-5B95-42C4-94C3-05567C69E257}" dt="2021-03-15T11:45:25.168" v="4921" actId="20577"/>
        <pc:sldMkLst>
          <pc:docMk/>
          <pc:sldMk cId="2908066437" sldId="527"/>
        </pc:sldMkLst>
        <pc:spChg chg="mod">
          <ac:chgData name="Lars Ivar" userId="da83bdda-499a-4427-8775-f375be339a54" providerId="ADAL" clId="{9A0F3B70-5B95-42C4-94C3-05567C69E257}" dt="2021-03-15T11:41:32.280" v="4532"/>
          <ac:spMkLst>
            <pc:docMk/>
            <pc:sldMk cId="2908066437" sldId="527"/>
            <ac:spMk id="34" creationId="{97D323A5-B50A-4EEB-AE4A-480BEF9C6CC8}"/>
          </ac:spMkLst>
        </pc:spChg>
        <pc:spChg chg="mod">
          <ac:chgData name="Lars Ivar" userId="da83bdda-499a-4427-8775-f375be339a54" providerId="ADAL" clId="{9A0F3B70-5B95-42C4-94C3-05567C69E257}" dt="2021-03-15T11:41:32.280" v="4532"/>
          <ac:spMkLst>
            <pc:docMk/>
            <pc:sldMk cId="2908066437" sldId="527"/>
            <ac:spMk id="35" creationId="{9B8349E4-43DA-450E-BCE7-5A59EE35E9CF}"/>
          </ac:spMkLst>
        </pc:spChg>
        <pc:spChg chg="mod">
          <ac:chgData name="Lars Ivar" userId="da83bdda-499a-4427-8775-f375be339a54" providerId="ADAL" clId="{9A0F3B70-5B95-42C4-94C3-05567C69E257}" dt="2021-03-15T11:41:32.280" v="4532"/>
          <ac:spMkLst>
            <pc:docMk/>
            <pc:sldMk cId="2908066437" sldId="527"/>
            <ac:spMk id="36" creationId="{E1DC874F-7176-43BD-9626-790B9DE717A0}"/>
          </ac:spMkLst>
        </pc:spChg>
        <pc:spChg chg="mod">
          <ac:chgData name="Lars Ivar" userId="da83bdda-499a-4427-8775-f375be339a54" providerId="ADAL" clId="{9A0F3B70-5B95-42C4-94C3-05567C69E257}" dt="2021-03-15T11:41:32.280" v="4532"/>
          <ac:spMkLst>
            <pc:docMk/>
            <pc:sldMk cId="2908066437" sldId="527"/>
            <ac:spMk id="37" creationId="{29F1DDCB-8473-4473-8A5A-7DA6DAF32795}"/>
          </ac:spMkLst>
        </pc:spChg>
        <pc:spChg chg="mod">
          <ac:chgData name="Lars Ivar" userId="da83bdda-499a-4427-8775-f375be339a54" providerId="ADAL" clId="{9A0F3B70-5B95-42C4-94C3-05567C69E257}" dt="2021-03-15T11:41:32.280" v="4532"/>
          <ac:spMkLst>
            <pc:docMk/>
            <pc:sldMk cId="2908066437" sldId="527"/>
            <ac:spMk id="38" creationId="{164EAB52-C58E-45BB-9DD4-2DB6F18C1428}"/>
          </ac:spMkLst>
        </pc:spChg>
        <pc:spChg chg="mod">
          <ac:chgData name="Lars Ivar" userId="da83bdda-499a-4427-8775-f375be339a54" providerId="ADAL" clId="{9A0F3B70-5B95-42C4-94C3-05567C69E257}" dt="2021-03-15T11:41:32.280" v="4532"/>
          <ac:spMkLst>
            <pc:docMk/>
            <pc:sldMk cId="2908066437" sldId="527"/>
            <ac:spMk id="39" creationId="{F1073702-360B-4210-9B77-978CFE389238}"/>
          </ac:spMkLst>
        </pc:spChg>
        <pc:spChg chg="mod">
          <ac:chgData name="Lars Ivar" userId="da83bdda-499a-4427-8775-f375be339a54" providerId="ADAL" clId="{9A0F3B70-5B95-42C4-94C3-05567C69E257}" dt="2021-03-15T11:41:32.280" v="4532"/>
          <ac:spMkLst>
            <pc:docMk/>
            <pc:sldMk cId="2908066437" sldId="527"/>
            <ac:spMk id="40" creationId="{C13B3B87-79EC-4B74-ACD5-FA21336EE02D}"/>
          </ac:spMkLst>
        </pc:spChg>
        <pc:spChg chg="mod">
          <ac:chgData name="Lars Ivar" userId="da83bdda-499a-4427-8775-f375be339a54" providerId="ADAL" clId="{9A0F3B70-5B95-42C4-94C3-05567C69E257}" dt="2021-03-15T11:41:32.280" v="4532"/>
          <ac:spMkLst>
            <pc:docMk/>
            <pc:sldMk cId="2908066437" sldId="527"/>
            <ac:spMk id="41" creationId="{2BBF1575-F814-491D-A516-9352B25170C8}"/>
          </ac:spMkLst>
        </pc:spChg>
        <pc:spChg chg="mod">
          <ac:chgData name="Lars Ivar" userId="da83bdda-499a-4427-8775-f375be339a54" providerId="ADAL" clId="{9A0F3B70-5B95-42C4-94C3-05567C69E257}" dt="2021-03-15T11:41:32.280" v="4532"/>
          <ac:spMkLst>
            <pc:docMk/>
            <pc:sldMk cId="2908066437" sldId="527"/>
            <ac:spMk id="42" creationId="{84C344D3-A199-491F-9351-75496DEDDE13}"/>
          </ac:spMkLst>
        </pc:spChg>
        <pc:spChg chg="mod">
          <ac:chgData name="Lars Ivar" userId="da83bdda-499a-4427-8775-f375be339a54" providerId="ADAL" clId="{9A0F3B70-5B95-42C4-94C3-05567C69E257}" dt="2021-03-15T11:41:32.280" v="4532"/>
          <ac:spMkLst>
            <pc:docMk/>
            <pc:sldMk cId="2908066437" sldId="527"/>
            <ac:spMk id="58" creationId="{E24E2A5F-C4E4-4E13-A170-A28AF778B055}"/>
          </ac:spMkLst>
        </pc:spChg>
        <pc:grpChg chg="del">
          <ac:chgData name="Lars Ivar" userId="da83bdda-499a-4427-8775-f375be339a54" providerId="ADAL" clId="{9A0F3B70-5B95-42C4-94C3-05567C69E257}" dt="2021-03-15T11:41:32.010" v="4531" actId="478"/>
          <ac:grpSpMkLst>
            <pc:docMk/>
            <pc:sldMk cId="2908066437" sldId="527"/>
            <ac:grpSpMk id="24" creationId="{BC49AFCC-100E-495C-9A64-7429F79DB140}"/>
          </ac:grpSpMkLst>
        </pc:grpChg>
        <pc:grpChg chg="add mod">
          <ac:chgData name="Lars Ivar" userId="da83bdda-499a-4427-8775-f375be339a54" providerId="ADAL" clId="{9A0F3B70-5B95-42C4-94C3-05567C69E257}" dt="2021-03-15T11:41:32.280" v="4532"/>
          <ac:grpSpMkLst>
            <pc:docMk/>
            <pc:sldMk cId="2908066437" sldId="527"/>
            <ac:grpSpMk id="25" creationId="{BEC862B8-3C76-466A-9D05-350326350D7E}"/>
          </ac:grpSpMkLst>
        </pc:grpChg>
        <pc:grpChg chg="mod">
          <ac:chgData name="Lars Ivar" userId="da83bdda-499a-4427-8775-f375be339a54" providerId="ADAL" clId="{9A0F3B70-5B95-42C4-94C3-05567C69E257}" dt="2021-03-15T11:41:32.280" v="4532"/>
          <ac:grpSpMkLst>
            <pc:docMk/>
            <pc:sldMk cId="2908066437" sldId="527"/>
            <ac:grpSpMk id="29" creationId="{CE49302A-EA5A-4AE3-8989-A7B243DFE968}"/>
          </ac:grpSpMkLst>
        </pc:grpChg>
        <pc:grpChg chg="mod">
          <ac:chgData name="Lars Ivar" userId="da83bdda-499a-4427-8775-f375be339a54" providerId="ADAL" clId="{9A0F3B70-5B95-42C4-94C3-05567C69E257}" dt="2021-03-15T11:41:32.280" v="4532"/>
          <ac:grpSpMkLst>
            <pc:docMk/>
            <pc:sldMk cId="2908066437" sldId="527"/>
            <ac:grpSpMk id="30" creationId="{A0D1A56A-0BC3-4E5D-A6F7-EC267D8B17A0}"/>
          </ac:grpSpMkLst>
        </pc:grpChg>
        <pc:grpChg chg="mod">
          <ac:chgData name="Lars Ivar" userId="da83bdda-499a-4427-8775-f375be339a54" providerId="ADAL" clId="{9A0F3B70-5B95-42C4-94C3-05567C69E257}" dt="2021-03-15T11:41:32.280" v="4532"/>
          <ac:grpSpMkLst>
            <pc:docMk/>
            <pc:sldMk cId="2908066437" sldId="527"/>
            <ac:grpSpMk id="31" creationId="{9064C248-C38E-46F6-81D6-FE0FA28560EB}"/>
          </ac:grpSpMkLst>
        </pc:grpChg>
        <pc:grpChg chg="mod">
          <ac:chgData name="Lars Ivar" userId="da83bdda-499a-4427-8775-f375be339a54" providerId="ADAL" clId="{9A0F3B70-5B95-42C4-94C3-05567C69E257}" dt="2021-03-15T11:41:32.280" v="4532"/>
          <ac:grpSpMkLst>
            <pc:docMk/>
            <pc:sldMk cId="2908066437" sldId="527"/>
            <ac:grpSpMk id="32" creationId="{9974A6EF-9A23-414D-AF40-E55B6B8F2E35}"/>
          </ac:grpSpMkLst>
        </pc:grpChg>
        <pc:grpChg chg="mod">
          <ac:chgData name="Lars Ivar" userId="da83bdda-499a-4427-8775-f375be339a54" providerId="ADAL" clId="{9A0F3B70-5B95-42C4-94C3-05567C69E257}" dt="2021-03-15T11:41:32.280" v="4532"/>
          <ac:grpSpMkLst>
            <pc:docMk/>
            <pc:sldMk cId="2908066437" sldId="527"/>
            <ac:grpSpMk id="33" creationId="{711F15B3-E80D-4C4B-AA6A-B21C2D78E773}"/>
          </ac:grpSpMkLst>
        </pc:grpChg>
      </pc:sldChg>
      <pc:sldChg chg="addSp delSp modSp mod ord">
        <pc:chgData name="Lars Ivar" userId="da83bdda-499a-4427-8775-f375be339a54" providerId="ADAL" clId="{9A0F3B70-5B95-42C4-94C3-05567C69E257}" dt="2021-03-15T14:18:10.955" v="6920" actId="478"/>
        <pc:sldMkLst>
          <pc:docMk/>
          <pc:sldMk cId="3620096238" sldId="529"/>
        </pc:sldMkLst>
        <pc:spChg chg="mod">
          <ac:chgData name="Lars Ivar" userId="da83bdda-499a-4427-8775-f375be339a54" providerId="ADAL" clId="{9A0F3B70-5B95-42C4-94C3-05567C69E257}" dt="2021-03-15T11:39:57.103" v="4485"/>
          <ac:spMkLst>
            <pc:docMk/>
            <pc:sldMk cId="3620096238" sldId="529"/>
            <ac:spMk id="30" creationId="{3FC5E9A6-29C1-49EB-93B0-2A09923FE409}"/>
          </ac:spMkLst>
        </pc:spChg>
        <pc:spChg chg="mod">
          <ac:chgData name="Lars Ivar" userId="da83bdda-499a-4427-8775-f375be339a54" providerId="ADAL" clId="{9A0F3B70-5B95-42C4-94C3-05567C69E257}" dt="2021-03-15T11:39:57.103" v="4485"/>
          <ac:spMkLst>
            <pc:docMk/>
            <pc:sldMk cId="3620096238" sldId="529"/>
            <ac:spMk id="31" creationId="{8B3A59CB-2501-48D8-B295-6958EF38908D}"/>
          </ac:spMkLst>
        </pc:spChg>
        <pc:spChg chg="mod">
          <ac:chgData name="Lars Ivar" userId="da83bdda-499a-4427-8775-f375be339a54" providerId="ADAL" clId="{9A0F3B70-5B95-42C4-94C3-05567C69E257}" dt="2021-03-15T11:39:57.103" v="4485"/>
          <ac:spMkLst>
            <pc:docMk/>
            <pc:sldMk cId="3620096238" sldId="529"/>
            <ac:spMk id="32" creationId="{507F5A40-868B-4D10-B791-C91B0E3AB860}"/>
          </ac:spMkLst>
        </pc:spChg>
        <pc:spChg chg="mod">
          <ac:chgData name="Lars Ivar" userId="da83bdda-499a-4427-8775-f375be339a54" providerId="ADAL" clId="{9A0F3B70-5B95-42C4-94C3-05567C69E257}" dt="2021-03-15T11:39:57.103" v="4485"/>
          <ac:spMkLst>
            <pc:docMk/>
            <pc:sldMk cId="3620096238" sldId="529"/>
            <ac:spMk id="33" creationId="{1A88D177-A3DB-4679-B06B-5E4B79346A4D}"/>
          </ac:spMkLst>
        </pc:spChg>
        <pc:spChg chg="mod">
          <ac:chgData name="Lars Ivar" userId="da83bdda-499a-4427-8775-f375be339a54" providerId="ADAL" clId="{9A0F3B70-5B95-42C4-94C3-05567C69E257}" dt="2021-03-15T11:39:57.103" v="4485"/>
          <ac:spMkLst>
            <pc:docMk/>
            <pc:sldMk cId="3620096238" sldId="529"/>
            <ac:spMk id="34" creationId="{D4834185-5E1C-4AD1-A190-1034FA6B38C4}"/>
          </ac:spMkLst>
        </pc:spChg>
        <pc:spChg chg="mod">
          <ac:chgData name="Lars Ivar" userId="da83bdda-499a-4427-8775-f375be339a54" providerId="ADAL" clId="{9A0F3B70-5B95-42C4-94C3-05567C69E257}" dt="2021-03-15T11:39:57.103" v="4485"/>
          <ac:spMkLst>
            <pc:docMk/>
            <pc:sldMk cId="3620096238" sldId="529"/>
            <ac:spMk id="53" creationId="{A0E5E89F-BCA8-4D75-84A7-D53B18589197}"/>
          </ac:spMkLst>
        </pc:spChg>
        <pc:spChg chg="mod">
          <ac:chgData name="Lars Ivar" userId="da83bdda-499a-4427-8775-f375be339a54" providerId="ADAL" clId="{9A0F3B70-5B95-42C4-94C3-05567C69E257}" dt="2021-03-15T11:39:57.103" v="4485"/>
          <ac:spMkLst>
            <pc:docMk/>
            <pc:sldMk cId="3620096238" sldId="529"/>
            <ac:spMk id="54" creationId="{541F489A-DCC3-476B-A60E-E6EE09D8CF6E}"/>
          </ac:spMkLst>
        </pc:spChg>
        <pc:spChg chg="mod">
          <ac:chgData name="Lars Ivar" userId="da83bdda-499a-4427-8775-f375be339a54" providerId="ADAL" clId="{9A0F3B70-5B95-42C4-94C3-05567C69E257}" dt="2021-03-15T11:39:57.103" v="4485"/>
          <ac:spMkLst>
            <pc:docMk/>
            <pc:sldMk cId="3620096238" sldId="529"/>
            <ac:spMk id="55" creationId="{FA997051-6361-4B5A-9663-F60812820796}"/>
          </ac:spMkLst>
        </pc:spChg>
        <pc:spChg chg="mod">
          <ac:chgData name="Lars Ivar" userId="da83bdda-499a-4427-8775-f375be339a54" providerId="ADAL" clId="{9A0F3B70-5B95-42C4-94C3-05567C69E257}" dt="2021-03-15T11:39:57.103" v="4485"/>
          <ac:spMkLst>
            <pc:docMk/>
            <pc:sldMk cId="3620096238" sldId="529"/>
            <ac:spMk id="56" creationId="{10AB0389-18B4-46D9-A949-64BB7594F43B}"/>
          </ac:spMkLst>
        </pc:spChg>
        <pc:spChg chg="mod">
          <ac:chgData name="Lars Ivar" userId="da83bdda-499a-4427-8775-f375be339a54" providerId="ADAL" clId="{9A0F3B70-5B95-42C4-94C3-05567C69E257}" dt="2021-03-15T11:39:57.103" v="4485"/>
          <ac:spMkLst>
            <pc:docMk/>
            <pc:sldMk cId="3620096238" sldId="529"/>
            <ac:spMk id="57" creationId="{C9DE8EA1-08D3-4071-94FF-99C85AC91A51}"/>
          </ac:spMkLst>
        </pc:spChg>
        <pc:grpChg chg="del">
          <ac:chgData name="Lars Ivar" userId="da83bdda-499a-4427-8775-f375be339a54" providerId="ADAL" clId="{9A0F3B70-5B95-42C4-94C3-05567C69E257}" dt="2021-03-15T11:39:52.927" v="4484" actId="478"/>
          <ac:grpSpMkLst>
            <pc:docMk/>
            <pc:sldMk cId="3620096238" sldId="529"/>
            <ac:grpSpMk id="2" creationId="{FB0E3E3F-4D6E-4365-B8D1-477E1C1440EC}"/>
          </ac:grpSpMkLst>
        </pc:grpChg>
        <pc:grpChg chg="add mod">
          <ac:chgData name="Lars Ivar" userId="da83bdda-499a-4427-8775-f375be339a54" providerId="ADAL" clId="{9A0F3B70-5B95-42C4-94C3-05567C69E257}" dt="2021-03-15T11:39:57.103" v="4485"/>
          <ac:grpSpMkLst>
            <pc:docMk/>
            <pc:sldMk cId="3620096238" sldId="529"/>
            <ac:grpSpMk id="24" creationId="{EDF4DA29-1A05-40ED-A8AC-8F32D788A349}"/>
          </ac:grpSpMkLst>
        </pc:grpChg>
        <pc:grpChg chg="mod">
          <ac:chgData name="Lars Ivar" userId="da83bdda-499a-4427-8775-f375be339a54" providerId="ADAL" clId="{9A0F3B70-5B95-42C4-94C3-05567C69E257}" dt="2021-03-15T11:39:57.103" v="4485"/>
          <ac:grpSpMkLst>
            <pc:docMk/>
            <pc:sldMk cId="3620096238" sldId="529"/>
            <ac:grpSpMk id="25" creationId="{C5047A6D-296E-4342-9286-DB0C2B94115E}"/>
          </ac:grpSpMkLst>
        </pc:grpChg>
        <pc:grpChg chg="mod">
          <ac:chgData name="Lars Ivar" userId="da83bdda-499a-4427-8775-f375be339a54" providerId="ADAL" clId="{9A0F3B70-5B95-42C4-94C3-05567C69E257}" dt="2021-03-15T11:39:57.103" v="4485"/>
          <ac:grpSpMkLst>
            <pc:docMk/>
            <pc:sldMk cId="3620096238" sldId="529"/>
            <ac:grpSpMk id="26" creationId="{F37D0536-7E31-4E88-8ED8-A5C584BA8E3C}"/>
          </ac:grpSpMkLst>
        </pc:grpChg>
        <pc:grpChg chg="mod">
          <ac:chgData name="Lars Ivar" userId="da83bdda-499a-4427-8775-f375be339a54" providerId="ADAL" clId="{9A0F3B70-5B95-42C4-94C3-05567C69E257}" dt="2021-03-15T11:39:57.103" v="4485"/>
          <ac:grpSpMkLst>
            <pc:docMk/>
            <pc:sldMk cId="3620096238" sldId="529"/>
            <ac:grpSpMk id="27" creationId="{0C871DE6-49BC-4766-90CA-A73AE14D708E}"/>
          </ac:grpSpMkLst>
        </pc:grpChg>
        <pc:grpChg chg="mod">
          <ac:chgData name="Lars Ivar" userId="da83bdda-499a-4427-8775-f375be339a54" providerId="ADAL" clId="{9A0F3B70-5B95-42C4-94C3-05567C69E257}" dt="2021-03-15T11:39:57.103" v="4485"/>
          <ac:grpSpMkLst>
            <pc:docMk/>
            <pc:sldMk cId="3620096238" sldId="529"/>
            <ac:grpSpMk id="28" creationId="{721D07D3-4C1F-4C8D-8A57-A7CBF2FDAA6E}"/>
          </ac:grpSpMkLst>
        </pc:grpChg>
        <pc:grpChg chg="mod">
          <ac:chgData name="Lars Ivar" userId="da83bdda-499a-4427-8775-f375be339a54" providerId="ADAL" clId="{9A0F3B70-5B95-42C4-94C3-05567C69E257}" dt="2021-03-15T11:39:57.103" v="4485"/>
          <ac:grpSpMkLst>
            <pc:docMk/>
            <pc:sldMk cId="3620096238" sldId="529"/>
            <ac:grpSpMk id="29" creationId="{B3B3697A-DFED-41B3-B90F-1ACA36287421}"/>
          </ac:grpSpMkLst>
        </pc:grpChg>
        <pc:picChg chg="del">
          <ac:chgData name="Lars Ivar" userId="da83bdda-499a-4427-8775-f375be339a54" providerId="ADAL" clId="{9A0F3B70-5B95-42C4-94C3-05567C69E257}" dt="2021-03-15T14:18:10.955" v="6920" actId="478"/>
          <ac:picMkLst>
            <pc:docMk/>
            <pc:sldMk cId="3620096238" sldId="529"/>
            <ac:picMk id="12293" creationId="{9799D8A1-E00F-4EC9-A6FC-004EE29B1C27}"/>
          </ac:picMkLst>
        </pc:picChg>
      </pc:sldChg>
      <pc:sldChg chg="addSp delSp modSp mod modNotesTx">
        <pc:chgData name="Lars Ivar" userId="da83bdda-499a-4427-8775-f375be339a54" providerId="ADAL" clId="{9A0F3B70-5B95-42C4-94C3-05567C69E257}" dt="2021-03-15T14:15:37.484" v="6904" actId="478"/>
        <pc:sldMkLst>
          <pc:docMk/>
          <pc:sldMk cId="819150806" sldId="530"/>
        </pc:sldMkLst>
        <pc:spChg chg="mod">
          <ac:chgData name="Lars Ivar" userId="da83bdda-499a-4427-8775-f375be339a54" providerId="ADAL" clId="{9A0F3B70-5B95-42C4-94C3-05567C69E257}" dt="2021-03-15T14:13:09.782" v="6833" actId="1076"/>
          <ac:spMkLst>
            <pc:docMk/>
            <pc:sldMk cId="819150806" sldId="530"/>
            <ac:spMk id="2" creationId="{21AE8073-7262-4243-B21B-87E090929B1A}"/>
          </ac:spMkLst>
        </pc:spChg>
        <pc:spChg chg="add del">
          <ac:chgData name="Lars Ivar" userId="da83bdda-499a-4427-8775-f375be339a54" providerId="ADAL" clId="{9A0F3B70-5B95-42C4-94C3-05567C69E257}" dt="2021-03-15T14:15:35.356" v="6902" actId="478"/>
          <ac:spMkLst>
            <pc:docMk/>
            <pc:sldMk cId="819150806" sldId="530"/>
            <ac:spMk id="21" creationId="{A025DCAC-E437-40D0-8A2E-7D20DB7A3F00}"/>
          </ac:spMkLst>
        </pc:spChg>
        <pc:spChg chg="add del">
          <ac:chgData name="Lars Ivar" userId="da83bdda-499a-4427-8775-f375be339a54" providerId="ADAL" clId="{9A0F3B70-5B95-42C4-94C3-05567C69E257}" dt="2021-03-15T14:15:34.640" v="6901" actId="478"/>
          <ac:spMkLst>
            <pc:docMk/>
            <pc:sldMk cId="819150806" sldId="530"/>
            <ac:spMk id="23" creationId="{FB028DC4-029B-407D-8F6B-C523579AFE54}"/>
          </ac:spMkLst>
        </pc:spChg>
        <pc:spChg chg="add del">
          <ac:chgData name="Lars Ivar" userId="da83bdda-499a-4427-8775-f375be339a54" providerId="ADAL" clId="{9A0F3B70-5B95-42C4-94C3-05567C69E257}" dt="2021-03-15T14:15:36.187" v="6903" actId="478"/>
          <ac:spMkLst>
            <pc:docMk/>
            <pc:sldMk cId="819150806" sldId="530"/>
            <ac:spMk id="26" creationId="{F7012B31-D035-4588-A480-DACDA83B843C}"/>
          </ac:spMkLst>
        </pc:spChg>
        <pc:spChg chg="mod">
          <ac:chgData name="Lars Ivar" userId="da83bdda-499a-4427-8775-f375be339a54" providerId="ADAL" clId="{9A0F3B70-5B95-42C4-94C3-05567C69E257}" dt="2021-03-15T11:41:35.453" v="4534"/>
          <ac:spMkLst>
            <pc:docMk/>
            <pc:sldMk cId="819150806" sldId="530"/>
            <ac:spMk id="35" creationId="{EA40370E-8E6E-4CBA-B5FF-D57E1DCE59E4}"/>
          </ac:spMkLst>
        </pc:spChg>
        <pc:spChg chg="mod">
          <ac:chgData name="Lars Ivar" userId="da83bdda-499a-4427-8775-f375be339a54" providerId="ADAL" clId="{9A0F3B70-5B95-42C4-94C3-05567C69E257}" dt="2021-03-15T11:41:35.453" v="4534"/>
          <ac:spMkLst>
            <pc:docMk/>
            <pc:sldMk cId="819150806" sldId="530"/>
            <ac:spMk id="36" creationId="{3CF95BBB-E381-4F4A-A5D5-BA8C4286FB2A}"/>
          </ac:spMkLst>
        </pc:spChg>
        <pc:spChg chg="mod">
          <ac:chgData name="Lars Ivar" userId="da83bdda-499a-4427-8775-f375be339a54" providerId="ADAL" clId="{9A0F3B70-5B95-42C4-94C3-05567C69E257}" dt="2021-03-15T11:41:35.453" v="4534"/>
          <ac:spMkLst>
            <pc:docMk/>
            <pc:sldMk cId="819150806" sldId="530"/>
            <ac:spMk id="37" creationId="{DE6400C6-21FC-4B33-823B-2D8A6E1F377E}"/>
          </ac:spMkLst>
        </pc:spChg>
        <pc:spChg chg="mod">
          <ac:chgData name="Lars Ivar" userId="da83bdda-499a-4427-8775-f375be339a54" providerId="ADAL" clId="{9A0F3B70-5B95-42C4-94C3-05567C69E257}" dt="2021-03-15T11:41:35.453" v="4534"/>
          <ac:spMkLst>
            <pc:docMk/>
            <pc:sldMk cId="819150806" sldId="530"/>
            <ac:spMk id="38" creationId="{9FD45CE0-B798-46B8-8164-9422F83CF58F}"/>
          </ac:spMkLst>
        </pc:spChg>
        <pc:spChg chg="mod">
          <ac:chgData name="Lars Ivar" userId="da83bdda-499a-4427-8775-f375be339a54" providerId="ADAL" clId="{9A0F3B70-5B95-42C4-94C3-05567C69E257}" dt="2021-03-15T11:41:35.453" v="4534"/>
          <ac:spMkLst>
            <pc:docMk/>
            <pc:sldMk cId="819150806" sldId="530"/>
            <ac:spMk id="39" creationId="{BA9F4BA4-1E5A-4CAD-AF6A-C12799550928}"/>
          </ac:spMkLst>
        </pc:spChg>
        <pc:spChg chg="mod">
          <ac:chgData name="Lars Ivar" userId="da83bdda-499a-4427-8775-f375be339a54" providerId="ADAL" clId="{9A0F3B70-5B95-42C4-94C3-05567C69E257}" dt="2021-03-15T11:41:35.453" v="4534"/>
          <ac:spMkLst>
            <pc:docMk/>
            <pc:sldMk cId="819150806" sldId="530"/>
            <ac:spMk id="40" creationId="{0A7650E0-E1D3-4353-9D25-5ABB3BA46B78}"/>
          </ac:spMkLst>
        </pc:spChg>
        <pc:spChg chg="mod">
          <ac:chgData name="Lars Ivar" userId="da83bdda-499a-4427-8775-f375be339a54" providerId="ADAL" clId="{9A0F3B70-5B95-42C4-94C3-05567C69E257}" dt="2021-03-15T11:41:35.453" v="4534"/>
          <ac:spMkLst>
            <pc:docMk/>
            <pc:sldMk cId="819150806" sldId="530"/>
            <ac:spMk id="41" creationId="{9FF97AA5-2CD0-4FE2-B587-A89137C0A2C9}"/>
          </ac:spMkLst>
        </pc:spChg>
        <pc:spChg chg="mod">
          <ac:chgData name="Lars Ivar" userId="da83bdda-499a-4427-8775-f375be339a54" providerId="ADAL" clId="{9A0F3B70-5B95-42C4-94C3-05567C69E257}" dt="2021-03-15T11:41:35.453" v="4534"/>
          <ac:spMkLst>
            <pc:docMk/>
            <pc:sldMk cId="819150806" sldId="530"/>
            <ac:spMk id="42" creationId="{7E07C9E0-3742-46D4-A475-4440029D1128}"/>
          </ac:spMkLst>
        </pc:spChg>
        <pc:spChg chg="mod">
          <ac:chgData name="Lars Ivar" userId="da83bdda-499a-4427-8775-f375be339a54" providerId="ADAL" clId="{9A0F3B70-5B95-42C4-94C3-05567C69E257}" dt="2021-03-15T11:41:35.453" v="4534"/>
          <ac:spMkLst>
            <pc:docMk/>
            <pc:sldMk cId="819150806" sldId="530"/>
            <ac:spMk id="59" creationId="{B48D5DDD-41A9-4EA4-88FD-647A2C37B809}"/>
          </ac:spMkLst>
        </pc:spChg>
        <pc:spChg chg="mod">
          <ac:chgData name="Lars Ivar" userId="da83bdda-499a-4427-8775-f375be339a54" providerId="ADAL" clId="{9A0F3B70-5B95-42C4-94C3-05567C69E257}" dt="2021-03-15T11:41:35.453" v="4534"/>
          <ac:spMkLst>
            <pc:docMk/>
            <pc:sldMk cId="819150806" sldId="530"/>
            <ac:spMk id="60" creationId="{1518D2C8-2419-4A83-AF28-EE9E47F99043}"/>
          </ac:spMkLst>
        </pc:spChg>
        <pc:grpChg chg="add mod">
          <ac:chgData name="Lars Ivar" userId="da83bdda-499a-4427-8775-f375be339a54" providerId="ADAL" clId="{9A0F3B70-5B95-42C4-94C3-05567C69E257}" dt="2021-03-15T11:41:35.453" v="4534"/>
          <ac:grpSpMkLst>
            <pc:docMk/>
            <pc:sldMk cId="819150806" sldId="530"/>
            <ac:grpSpMk id="29" creationId="{BF378865-7B52-4F35-A3BD-5C8DF0AD67E6}"/>
          </ac:grpSpMkLst>
        </pc:grpChg>
        <pc:grpChg chg="mod">
          <ac:chgData name="Lars Ivar" userId="da83bdda-499a-4427-8775-f375be339a54" providerId="ADAL" clId="{9A0F3B70-5B95-42C4-94C3-05567C69E257}" dt="2021-03-15T11:41:35.453" v="4534"/>
          <ac:grpSpMkLst>
            <pc:docMk/>
            <pc:sldMk cId="819150806" sldId="530"/>
            <ac:grpSpMk id="30" creationId="{02FA125F-C3E5-461A-9182-E09381A8C620}"/>
          </ac:grpSpMkLst>
        </pc:grpChg>
        <pc:grpChg chg="mod">
          <ac:chgData name="Lars Ivar" userId="da83bdda-499a-4427-8775-f375be339a54" providerId="ADAL" clId="{9A0F3B70-5B95-42C4-94C3-05567C69E257}" dt="2021-03-15T11:41:35.453" v="4534"/>
          <ac:grpSpMkLst>
            <pc:docMk/>
            <pc:sldMk cId="819150806" sldId="530"/>
            <ac:grpSpMk id="31" creationId="{98381D0F-6945-4CD1-A779-6EF171D8D6F3}"/>
          </ac:grpSpMkLst>
        </pc:grpChg>
        <pc:grpChg chg="mod">
          <ac:chgData name="Lars Ivar" userId="da83bdda-499a-4427-8775-f375be339a54" providerId="ADAL" clId="{9A0F3B70-5B95-42C4-94C3-05567C69E257}" dt="2021-03-15T11:41:35.453" v="4534"/>
          <ac:grpSpMkLst>
            <pc:docMk/>
            <pc:sldMk cId="819150806" sldId="530"/>
            <ac:grpSpMk id="32" creationId="{1115AF84-ED79-408E-9D00-73ACB50059A6}"/>
          </ac:grpSpMkLst>
        </pc:grpChg>
        <pc:grpChg chg="mod">
          <ac:chgData name="Lars Ivar" userId="da83bdda-499a-4427-8775-f375be339a54" providerId="ADAL" clId="{9A0F3B70-5B95-42C4-94C3-05567C69E257}" dt="2021-03-15T11:41:35.453" v="4534"/>
          <ac:grpSpMkLst>
            <pc:docMk/>
            <pc:sldMk cId="819150806" sldId="530"/>
            <ac:grpSpMk id="33" creationId="{47939A66-E8B6-4256-97FB-D5214A89AD49}"/>
          </ac:grpSpMkLst>
        </pc:grpChg>
        <pc:grpChg chg="mod">
          <ac:chgData name="Lars Ivar" userId="da83bdda-499a-4427-8775-f375be339a54" providerId="ADAL" clId="{9A0F3B70-5B95-42C4-94C3-05567C69E257}" dt="2021-03-15T11:41:35.453" v="4534"/>
          <ac:grpSpMkLst>
            <pc:docMk/>
            <pc:sldMk cId="819150806" sldId="530"/>
            <ac:grpSpMk id="34" creationId="{4E4580C6-A101-419C-84EC-9D0B1361445F}"/>
          </ac:grpSpMkLst>
        </pc:grpChg>
        <pc:grpChg chg="del">
          <ac:chgData name="Lars Ivar" userId="da83bdda-499a-4427-8775-f375be339a54" providerId="ADAL" clId="{9A0F3B70-5B95-42C4-94C3-05567C69E257}" dt="2021-03-15T11:41:35.178" v="4533" actId="478"/>
          <ac:grpSpMkLst>
            <pc:docMk/>
            <pc:sldMk cId="819150806" sldId="530"/>
            <ac:grpSpMk id="43" creationId="{C85D4D22-27AB-4793-9836-E585988D06AC}"/>
          </ac:grpSpMkLst>
        </pc:grpChg>
        <pc:picChg chg="mod">
          <ac:chgData name="Lars Ivar" userId="da83bdda-499a-4427-8775-f375be339a54" providerId="ADAL" clId="{9A0F3B70-5B95-42C4-94C3-05567C69E257}" dt="2021-03-15T14:13:08.274" v="6832" actId="1076"/>
          <ac:picMkLst>
            <pc:docMk/>
            <pc:sldMk cId="819150806" sldId="530"/>
            <ac:picMk id="3" creationId="{46F3DFF6-63C9-403B-97E3-A819D5EA2BB6}"/>
          </ac:picMkLst>
        </pc:picChg>
        <pc:picChg chg="mod">
          <ac:chgData name="Lars Ivar" userId="da83bdda-499a-4427-8775-f375be339a54" providerId="ADAL" clId="{9A0F3B70-5B95-42C4-94C3-05567C69E257}" dt="2021-03-15T14:13:08.274" v="6832" actId="1076"/>
          <ac:picMkLst>
            <pc:docMk/>
            <pc:sldMk cId="819150806" sldId="530"/>
            <ac:picMk id="4" creationId="{5024AB13-4894-44D5-9309-0480C8594EE0}"/>
          </ac:picMkLst>
        </pc:picChg>
        <pc:picChg chg="mod">
          <ac:chgData name="Lars Ivar" userId="da83bdda-499a-4427-8775-f375be339a54" providerId="ADAL" clId="{9A0F3B70-5B95-42C4-94C3-05567C69E257}" dt="2021-03-15T14:15:31.204" v="6900" actId="1076"/>
          <ac:picMkLst>
            <pc:docMk/>
            <pc:sldMk cId="819150806" sldId="530"/>
            <ac:picMk id="6" creationId="{A14CD208-F810-4608-ABA7-29B6699CE8E7}"/>
          </ac:picMkLst>
        </pc:picChg>
        <pc:picChg chg="mod">
          <ac:chgData name="Lars Ivar" userId="da83bdda-499a-4427-8775-f375be339a54" providerId="ADAL" clId="{9A0F3B70-5B95-42C4-94C3-05567C69E257}" dt="2021-03-15T14:15:09.629" v="6892" actId="1076"/>
          <ac:picMkLst>
            <pc:docMk/>
            <pc:sldMk cId="819150806" sldId="530"/>
            <ac:picMk id="7" creationId="{8DF003E8-D13B-42C4-B9DE-218A98605714}"/>
          </ac:picMkLst>
        </pc:picChg>
        <pc:cxnChg chg="add del">
          <ac:chgData name="Lars Ivar" userId="da83bdda-499a-4427-8775-f375be339a54" providerId="ADAL" clId="{9A0F3B70-5B95-42C4-94C3-05567C69E257}" dt="2021-03-15T14:14:30.370" v="6867" actId="478"/>
          <ac:cxnSpMkLst>
            <pc:docMk/>
            <pc:sldMk cId="819150806" sldId="530"/>
            <ac:cxnSpMk id="11" creationId="{3EADABE5-9E26-4DCC-9E1A-40A061C852D5}"/>
          </ac:cxnSpMkLst>
        </pc:cxnChg>
        <pc:cxnChg chg="add del">
          <ac:chgData name="Lars Ivar" userId="da83bdda-499a-4427-8775-f375be339a54" providerId="ADAL" clId="{9A0F3B70-5B95-42C4-94C3-05567C69E257}" dt="2021-03-15T14:15:37.484" v="6904" actId="478"/>
          <ac:cxnSpMkLst>
            <pc:docMk/>
            <pc:sldMk cId="819150806" sldId="530"/>
            <ac:cxnSpMk id="27" creationId="{1FF9E454-F0A3-49B6-A937-51A5F4A2DD96}"/>
          </ac:cxnSpMkLst>
        </pc:cxnChg>
      </pc:sldChg>
      <pc:sldChg chg="addSp delSp modSp mod">
        <pc:chgData name="Lars Ivar" userId="da83bdda-499a-4427-8775-f375be339a54" providerId="ADAL" clId="{9A0F3B70-5B95-42C4-94C3-05567C69E257}" dt="2021-03-15T11:41:42.105" v="4538"/>
        <pc:sldMkLst>
          <pc:docMk/>
          <pc:sldMk cId="467438431" sldId="531"/>
        </pc:sldMkLst>
        <pc:spChg chg="mod">
          <ac:chgData name="Lars Ivar" userId="da83bdda-499a-4427-8775-f375be339a54" providerId="ADAL" clId="{9A0F3B70-5B95-42C4-94C3-05567C69E257}" dt="2021-03-15T11:41:42.105" v="4538"/>
          <ac:spMkLst>
            <pc:docMk/>
            <pc:sldMk cId="467438431" sldId="531"/>
            <ac:spMk id="34" creationId="{460EB8DB-B1EC-4913-9CE1-B9ABFA717D61}"/>
          </ac:spMkLst>
        </pc:spChg>
        <pc:spChg chg="mod">
          <ac:chgData name="Lars Ivar" userId="da83bdda-499a-4427-8775-f375be339a54" providerId="ADAL" clId="{9A0F3B70-5B95-42C4-94C3-05567C69E257}" dt="2021-03-15T11:41:42.105" v="4538"/>
          <ac:spMkLst>
            <pc:docMk/>
            <pc:sldMk cId="467438431" sldId="531"/>
            <ac:spMk id="35" creationId="{DCA164FC-6BE8-412C-B0A2-FEAC9D980147}"/>
          </ac:spMkLst>
        </pc:spChg>
        <pc:spChg chg="mod">
          <ac:chgData name="Lars Ivar" userId="da83bdda-499a-4427-8775-f375be339a54" providerId="ADAL" clId="{9A0F3B70-5B95-42C4-94C3-05567C69E257}" dt="2021-03-15T11:41:42.105" v="4538"/>
          <ac:spMkLst>
            <pc:docMk/>
            <pc:sldMk cId="467438431" sldId="531"/>
            <ac:spMk id="36" creationId="{615D82C9-E23A-45B2-A5DB-D8122BEA075D}"/>
          </ac:spMkLst>
        </pc:spChg>
        <pc:spChg chg="mod">
          <ac:chgData name="Lars Ivar" userId="da83bdda-499a-4427-8775-f375be339a54" providerId="ADAL" clId="{9A0F3B70-5B95-42C4-94C3-05567C69E257}" dt="2021-03-15T11:41:42.105" v="4538"/>
          <ac:spMkLst>
            <pc:docMk/>
            <pc:sldMk cId="467438431" sldId="531"/>
            <ac:spMk id="37" creationId="{7976E005-FA4F-484E-85B1-546C13EEC472}"/>
          </ac:spMkLst>
        </pc:spChg>
        <pc:spChg chg="mod">
          <ac:chgData name="Lars Ivar" userId="da83bdda-499a-4427-8775-f375be339a54" providerId="ADAL" clId="{9A0F3B70-5B95-42C4-94C3-05567C69E257}" dt="2021-03-15T11:41:42.105" v="4538"/>
          <ac:spMkLst>
            <pc:docMk/>
            <pc:sldMk cId="467438431" sldId="531"/>
            <ac:spMk id="38" creationId="{F3E547B7-8F45-4E12-B322-51EA05686C67}"/>
          </ac:spMkLst>
        </pc:spChg>
        <pc:spChg chg="mod">
          <ac:chgData name="Lars Ivar" userId="da83bdda-499a-4427-8775-f375be339a54" providerId="ADAL" clId="{9A0F3B70-5B95-42C4-94C3-05567C69E257}" dt="2021-03-15T11:41:42.105" v="4538"/>
          <ac:spMkLst>
            <pc:docMk/>
            <pc:sldMk cId="467438431" sldId="531"/>
            <ac:spMk id="39" creationId="{18BCB762-B0FD-4686-829E-08AC0BD029BD}"/>
          </ac:spMkLst>
        </pc:spChg>
        <pc:spChg chg="mod">
          <ac:chgData name="Lars Ivar" userId="da83bdda-499a-4427-8775-f375be339a54" providerId="ADAL" clId="{9A0F3B70-5B95-42C4-94C3-05567C69E257}" dt="2021-03-15T11:41:42.105" v="4538"/>
          <ac:spMkLst>
            <pc:docMk/>
            <pc:sldMk cId="467438431" sldId="531"/>
            <ac:spMk id="40" creationId="{13279D76-6334-4B6A-8453-0E65D6218D25}"/>
          </ac:spMkLst>
        </pc:spChg>
        <pc:spChg chg="mod">
          <ac:chgData name="Lars Ivar" userId="da83bdda-499a-4427-8775-f375be339a54" providerId="ADAL" clId="{9A0F3B70-5B95-42C4-94C3-05567C69E257}" dt="2021-03-15T11:41:42.105" v="4538"/>
          <ac:spMkLst>
            <pc:docMk/>
            <pc:sldMk cId="467438431" sldId="531"/>
            <ac:spMk id="41" creationId="{04E9DCCD-CDA5-4139-BD3A-C01C406792A2}"/>
          </ac:spMkLst>
        </pc:spChg>
        <pc:spChg chg="mod">
          <ac:chgData name="Lars Ivar" userId="da83bdda-499a-4427-8775-f375be339a54" providerId="ADAL" clId="{9A0F3B70-5B95-42C4-94C3-05567C69E257}" dt="2021-03-15T11:41:42.105" v="4538"/>
          <ac:spMkLst>
            <pc:docMk/>
            <pc:sldMk cId="467438431" sldId="531"/>
            <ac:spMk id="42" creationId="{F042C902-A413-4553-BA36-6BBBDD5C9458}"/>
          </ac:spMkLst>
        </pc:spChg>
        <pc:spChg chg="mod">
          <ac:chgData name="Lars Ivar" userId="da83bdda-499a-4427-8775-f375be339a54" providerId="ADAL" clId="{9A0F3B70-5B95-42C4-94C3-05567C69E257}" dt="2021-03-15T11:41:42.105" v="4538"/>
          <ac:spMkLst>
            <pc:docMk/>
            <pc:sldMk cId="467438431" sldId="531"/>
            <ac:spMk id="58" creationId="{1490CCCA-64B5-4FAE-BDBF-909D2ACF7908}"/>
          </ac:spMkLst>
        </pc:spChg>
        <pc:grpChg chg="del">
          <ac:chgData name="Lars Ivar" userId="da83bdda-499a-4427-8775-f375be339a54" providerId="ADAL" clId="{9A0F3B70-5B95-42C4-94C3-05567C69E257}" dt="2021-03-15T11:41:41.818" v="4537" actId="478"/>
          <ac:grpSpMkLst>
            <pc:docMk/>
            <pc:sldMk cId="467438431" sldId="531"/>
            <ac:grpSpMk id="24" creationId="{241E2B91-82C6-4B02-AFA9-AF463668F1C8}"/>
          </ac:grpSpMkLst>
        </pc:grpChg>
        <pc:grpChg chg="add mod">
          <ac:chgData name="Lars Ivar" userId="da83bdda-499a-4427-8775-f375be339a54" providerId="ADAL" clId="{9A0F3B70-5B95-42C4-94C3-05567C69E257}" dt="2021-03-15T11:41:42.105" v="4538"/>
          <ac:grpSpMkLst>
            <pc:docMk/>
            <pc:sldMk cId="467438431" sldId="531"/>
            <ac:grpSpMk id="25" creationId="{5D1D1992-E389-4210-BDAD-8A5E92EB330B}"/>
          </ac:grpSpMkLst>
        </pc:grpChg>
        <pc:grpChg chg="mod">
          <ac:chgData name="Lars Ivar" userId="da83bdda-499a-4427-8775-f375be339a54" providerId="ADAL" clId="{9A0F3B70-5B95-42C4-94C3-05567C69E257}" dt="2021-03-15T11:41:42.105" v="4538"/>
          <ac:grpSpMkLst>
            <pc:docMk/>
            <pc:sldMk cId="467438431" sldId="531"/>
            <ac:grpSpMk id="29" creationId="{EA276388-C3A1-43BA-B943-C755B2DC0F27}"/>
          </ac:grpSpMkLst>
        </pc:grpChg>
        <pc:grpChg chg="mod">
          <ac:chgData name="Lars Ivar" userId="da83bdda-499a-4427-8775-f375be339a54" providerId="ADAL" clId="{9A0F3B70-5B95-42C4-94C3-05567C69E257}" dt="2021-03-15T11:41:42.105" v="4538"/>
          <ac:grpSpMkLst>
            <pc:docMk/>
            <pc:sldMk cId="467438431" sldId="531"/>
            <ac:grpSpMk id="30" creationId="{D6B81D02-FDB4-462A-AE3A-DDC8663D0016}"/>
          </ac:grpSpMkLst>
        </pc:grpChg>
        <pc:grpChg chg="mod">
          <ac:chgData name="Lars Ivar" userId="da83bdda-499a-4427-8775-f375be339a54" providerId="ADAL" clId="{9A0F3B70-5B95-42C4-94C3-05567C69E257}" dt="2021-03-15T11:41:42.105" v="4538"/>
          <ac:grpSpMkLst>
            <pc:docMk/>
            <pc:sldMk cId="467438431" sldId="531"/>
            <ac:grpSpMk id="31" creationId="{44D407DB-305A-42F5-87BB-86E06A7FAE08}"/>
          </ac:grpSpMkLst>
        </pc:grpChg>
        <pc:grpChg chg="mod">
          <ac:chgData name="Lars Ivar" userId="da83bdda-499a-4427-8775-f375be339a54" providerId="ADAL" clId="{9A0F3B70-5B95-42C4-94C3-05567C69E257}" dt="2021-03-15T11:41:42.105" v="4538"/>
          <ac:grpSpMkLst>
            <pc:docMk/>
            <pc:sldMk cId="467438431" sldId="531"/>
            <ac:grpSpMk id="32" creationId="{84E27DA2-0C49-4D76-AF4D-46B1B5AB8C04}"/>
          </ac:grpSpMkLst>
        </pc:grpChg>
        <pc:grpChg chg="mod">
          <ac:chgData name="Lars Ivar" userId="da83bdda-499a-4427-8775-f375be339a54" providerId="ADAL" clId="{9A0F3B70-5B95-42C4-94C3-05567C69E257}" dt="2021-03-15T11:41:42.105" v="4538"/>
          <ac:grpSpMkLst>
            <pc:docMk/>
            <pc:sldMk cId="467438431" sldId="531"/>
            <ac:grpSpMk id="33" creationId="{094C7165-A3CB-487B-9B75-4A6AFE39EA64}"/>
          </ac:grpSpMkLst>
        </pc:grpChg>
      </pc:sldChg>
      <pc:sldChg chg="addSp delSp modSp mod modNotesTx">
        <pc:chgData name="Lars Ivar" userId="da83bdda-499a-4427-8775-f375be339a54" providerId="ADAL" clId="{9A0F3B70-5B95-42C4-94C3-05567C69E257}" dt="2021-03-15T11:59:00.618" v="5698" actId="20577"/>
        <pc:sldMkLst>
          <pc:docMk/>
          <pc:sldMk cId="3364103302" sldId="532"/>
        </pc:sldMkLst>
        <pc:spChg chg="mod">
          <ac:chgData name="Lars Ivar" userId="da83bdda-499a-4427-8775-f375be339a54" providerId="ADAL" clId="{9A0F3B70-5B95-42C4-94C3-05567C69E257}" dt="2021-03-15T11:41:22.810" v="4526"/>
          <ac:spMkLst>
            <pc:docMk/>
            <pc:sldMk cId="3364103302" sldId="532"/>
            <ac:spMk id="34" creationId="{5A5D115F-1FD9-4EF6-8548-15F07B46D727}"/>
          </ac:spMkLst>
        </pc:spChg>
        <pc:spChg chg="mod">
          <ac:chgData name="Lars Ivar" userId="da83bdda-499a-4427-8775-f375be339a54" providerId="ADAL" clId="{9A0F3B70-5B95-42C4-94C3-05567C69E257}" dt="2021-03-15T11:41:22.810" v="4526"/>
          <ac:spMkLst>
            <pc:docMk/>
            <pc:sldMk cId="3364103302" sldId="532"/>
            <ac:spMk id="35" creationId="{1C4A27D1-3322-465E-96EE-FCEE492CBCE2}"/>
          </ac:spMkLst>
        </pc:spChg>
        <pc:spChg chg="mod">
          <ac:chgData name="Lars Ivar" userId="da83bdda-499a-4427-8775-f375be339a54" providerId="ADAL" clId="{9A0F3B70-5B95-42C4-94C3-05567C69E257}" dt="2021-03-15T11:41:22.810" v="4526"/>
          <ac:spMkLst>
            <pc:docMk/>
            <pc:sldMk cId="3364103302" sldId="532"/>
            <ac:spMk id="36" creationId="{032CE409-5B89-4D5D-A4DB-E8156DACDD31}"/>
          </ac:spMkLst>
        </pc:spChg>
        <pc:spChg chg="mod">
          <ac:chgData name="Lars Ivar" userId="da83bdda-499a-4427-8775-f375be339a54" providerId="ADAL" clId="{9A0F3B70-5B95-42C4-94C3-05567C69E257}" dt="2021-03-15T11:41:22.810" v="4526"/>
          <ac:spMkLst>
            <pc:docMk/>
            <pc:sldMk cId="3364103302" sldId="532"/>
            <ac:spMk id="37" creationId="{721CBC5B-EC82-4730-8CAE-A742A79865F3}"/>
          </ac:spMkLst>
        </pc:spChg>
        <pc:spChg chg="mod">
          <ac:chgData name="Lars Ivar" userId="da83bdda-499a-4427-8775-f375be339a54" providerId="ADAL" clId="{9A0F3B70-5B95-42C4-94C3-05567C69E257}" dt="2021-03-15T11:41:22.810" v="4526"/>
          <ac:spMkLst>
            <pc:docMk/>
            <pc:sldMk cId="3364103302" sldId="532"/>
            <ac:spMk id="38" creationId="{C5DF9A81-AAF0-40E7-A6A9-653E94B96CFC}"/>
          </ac:spMkLst>
        </pc:spChg>
        <pc:spChg chg="mod">
          <ac:chgData name="Lars Ivar" userId="da83bdda-499a-4427-8775-f375be339a54" providerId="ADAL" clId="{9A0F3B70-5B95-42C4-94C3-05567C69E257}" dt="2021-03-15T11:41:22.810" v="4526"/>
          <ac:spMkLst>
            <pc:docMk/>
            <pc:sldMk cId="3364103302" sldId="532"/>
            <ac:spMk id="39" creationId="{F616DD85-6EE8-4EC2-ADA8-9AA74ED273F8}"/>
          </ac:spMkLst>
        </pc:spChg>
        <pc:spChg chg="mod">
          <ac:chgData name="Lars Ivar" userId="da83bdda-499a-4427-8775-f375be339a54" providerId="ADAL" clId="{9A0F3B70-5B95-42C4-94C3-05567C69E257}" dt="2021-03-15T11:41:22.810" v="4526"/>
          <ac:spMkLst>
            <pc:docMk/>
            <pc:sldMk cId="3364103302" sldId="532"/>
            <ac:spMk id="40" creationId="{BF5A421D-514C-4CEF-BC3D-FC83FB7A2133}"/>
          </ac:spMkLst>
        </pc:spChg>
        <pc:spChg chg="mod">
          <ac:chgData name="Lars Ivar" userId="da83bdda-499a-4427-8775-f375be339a54" providerId="ADAL" clId="{9A0F3B70-5B95-42C4-94C3-05567C69E257}" dt="2021-03-15T11:41:22.810" v="4526"/>
          <ac:spMkLst>
            <pc:docMk/>
            <pc:sldMk cId="3364103302" sldId="532"/>
            <ac:spMk id="41" creationId="{156E1548-6BD1-4439-A2A6-55B3F7894EA2}"/>
          </ac:spMkLst>
        </pc:spChg>
        <pc:spChg chg="mod">
          <ac:chgData name="Lars Ivar" userId="da83bdda-499a-4427-8775-f375be339a54" providerId="ADAL" clId="{9A0F3B70-5B95-42C4-94C3-05567C69E257}" dt="2021-03-15T11:41:22.810" v="4526"/>
          <ac:spMkLst>
            <pc:docMk/>
            <pc:sldMk cId="3364103302" sldId="532"/>
            <ac:spMk id="42" creationId="{E4BBD09B-6C2D-4682-B07C-C57B7A3CBE82}"/>
          </ac:spMkLst>
        </pc:spChg>
        <pc:spChg chg="mod">
          <ac:chgData name="Lars Ivar" userId="da83bdda-499a-4427-8775-f375be339a54" providerId="ADAL" clId="{9A0F3B70-5B95-42C4-94C3-05567C69E257}" dt="2021-03-15T11:41:22.810" v="4526"/>
          <ac:spMkLst>
            <pc:docMk/>
            <pc:sldMk cId="3364103302" sldId="532"/>
            <ac:spMk id="57" creationId="{0774D22B-6BED-410B-B863-1A1B993F2D21}"/>
          </ac:spMkLst>
        </pc:spChg>
        <pc:grpChg chg="del">
          <ac:chgData name="Lars Ivar" userId="da83bdda-499a-4427-8775-f375be339a54" providerId="ADAL" clId="{9A0F3B70-5B95-42C4-94C3-05567C69E257}" dt="2021-03-15T11:41:22.494" v="4525" actId="478"/>
          <ac:grpSpMkLst>
            <pc:docMk/>
            <pc:sldMk cId="3364103302" sldId="532"/>
            <ac:grpSpMk id="23" creationId="{CBA23DE5-BD64-4665-A14F-61630EE7193A}"/>
          </ac:grpSpMkLst>
        </pc:grpChg>
        <pc:grpChg chg="add mod">
          <ac:chgData name="Lars Ivar" userId="da83bdda-499a-4427-8775-f375be339a54" providerId="ADAL" clId="{9A0F3B70-5B95-42C4-94C3-05567C69E257}" dt="2021-03-15T11:41:22.810" v="4526"/>
          <ac:grpSpMkLst>
            <pc:docMk/>
            <pc:sldMk cId="3364103302" sldId="532"/>
            <ac:grpSpMk id="25" creationId="{E749A383-B91E-4597-A8BF-54A3C2BA5C82}"/>
          </ac:grpSpMkLst>
        </pc:grpChg>
        <pc:grpChg chg="mod">
          <ac:chgData name="Lars Ivar" userId="da83bdda-499a-4427-8775-f375be339a54" providerId="ADAL" clId="{9A0F3B70-5B95-42C4-94C3-05567C69E257}" dt="2021-03-15T11:41:22.810" v="4526"/>
          <ac:grpSpMkLst>
            <pc:docMk/>
            <pc:sldMk cId="3364103302" sldId="532"/>
            <ac:grpSpMk id="29" creationId="{7956E280-A24A-4DDB-8F1A-E716424B98D1}"/>
          </ac:grpSpMkLst>
        </pc:grpChg>
        <pc:grpChg chg="mod">
          <ac:chgData name="Lars Ivar" userId="da83bdda-499a-4427-8775-f375be339a54" providerId="ADAL" clId="{9A0F3B70-5B95-42C4-94C3-05567C69E257}" dt="2021-03-15T11:41:22.810" v="4526"/>
          <ac:grpSpMkLst>
            <pc:docMk/>
            <pc:sldMk cId="3364103302" sldId="532"/>
            <ac:grpSpMk id="30" creationId="{05DDC7C1-CE05-4747-8565-4E4CC4094D5D}"/>
          </ac:grpSpMkLst>
        </pc:grpChg>
        <pc:grpChg chg="mod">
          <ac:chgData name="Lars Ivar" userId="da83bdda-499a-4427-8775-f375be339a54" providerId="ADAL" clId="{9A0F3B70-5B95-42C4-94C3-05567C69E257}" dt="2021-03-15T11:41:22.810" v="4526"/>
          <ac:grpSpMkLst>
            <pc:docMk/>
            <pc:sldMk cId="3364103302" sldId="532"/>
            <ac:grpSpMk id="31" creationId="{9A4A65E1-E2DE-4852-842F-C7F673134B26}"/>
          </ac:grpSpMkLst>
        </pc:grpChg>
        <pc:grpChg chg="mod">
          <ac:chgData name="Lars Ivar" userId="da83bdda-499a-4427-8775-f375be339a54" providerId="ADAL" clId="{9A0F3B70-5B95-42C4-94C3-05567C69E257}" dt="2021-03-15T11:41:22.810" v="4526"/>
          <ac:grpSpMkLst>
            <pc:docMk/>
            <pc:sldMk cId="3364103302" sldId="532"/>
            <ac:grpSpMk id="32" creationId="{82586591-3CD4-4D74-B0E4-D17D6B0FE9F3}"/>
          </ac:grpSpMkLst>
        </pc:grpChg>
        <pc:grpChg chg="mod">
          <ac:chgData name="Lars Ivar" userId="da83bdda-499a-4427-8775-f375be339a54" providerId="ADAL" clId="{9A0F3B70-5B95-42C4-94C3-05567C69E257}" dt="2021-03-15T11:41:22.810" v="4526"/>
          <ac:grpSpMkLst>
            <pc:docMk/>
            <pc:sldMk cId="3364103302" sldId="532"/>
            <ac:grpSpMk id="33" creationId="{90AB0F58-6A1C-4906-9442-E1C5C1F9A733}"/>
          </ac:grpSpMkLst>
        </pc:grpChg>
      </pc:sldChg>
      <pc:sldChg chg="addSp delSp modSp mod">
        <pc:chgData name="Lars Ivar" userId="da83bdda-499a-4427-8775-f375be339a54" providerId="ADAL" clId="{9A0F3B70-5B95-42C4-94C3-05567C69E257}" dt="2021-03-17T20:48:10.288" v="7542" actId="20577"/>
        <pc:sldMkLst>
          <pc:docMk/>
          <pc:sldMk cId="1421562340" sldId="534"/>
        </pc:sldMkLst>
        <pc:spChg chg="mod">
          <ac:chgData name="Lars Ivar" userId="da83bdda-499a-4427-8775-f375be339a54" providerId="ADAL" clId="{9A0F3B70-5B95-42C4-94C3-05567C69E257}" dt="2021-03-17T20:48:10.288" v="7542" actId="20577"/>
          <ac:spMkLst>
            <pc:docMk/>
            <pc:sldMk cId="1421562340" sldId="534"/>
            <ac:spMk id="26" creationId="{F7012B31-D035-4588-A480-DACDA83B843C}"/>
          </ac:spMkLst>
        </pc:spChg>
        <pc:spChg chg="mod">
          <ac:chgData name="Lars Ivar" userId="da83bdda-499a-4427-8775-f375be339a54" providerId="ADAL" clId="{9A0F3B70-5B95-42C4-94C3-05567C69E257}" dt="2021-03-15T11:40:41.710" v="4508"/>
          <ac:spMkLst>
            <pc:docMk/>
            <pc:sldMk cId="1421562340" sldId="534"/>
            <ac:spMk id="34" creationId="{ACDFD3F5-C35A-41B9-84E7-23591252BC4B}"/>
          </ac:spMkLst>
        </pc:spChg>
        <pc:spChg chg="mod">
          <ac:chgData name="Lars Ivar" userId="da83bdda-499a-4427-8775-f375be339a54" providerId="ADAL" clId="{9A0F3B70-5B95-42C4-94C3-05567C69E257}" dt="2021-03-15T11:40:41.710" v="4508"/>
          <ac:spMkLst>
            <pc:docMk/>
            <pc:sldMk cId="1421562340" sldId="534"/>
            <ac:spMk id="35" creationId="{1247CF8E-264D-4D4B-921B-91F3FE57FF51}"/>
          </ac:spMkLst>
        </pc:spChg>
        <pc:spChg chg="mod">
          <ac:chgData name="Lars Ivar" userId="da83bdda-499a-4427-8775-f375be339a54" providerId="ADAL" clId="{9A0F3B70-5B95-42C4-94C3-05567C69E257}" dt="2021-03-15T11:40:41.710" v="4508"/>
          <ac:spMkLst>
            <pc:docMk/>
            <pc:sldMk cId="1421562340" sldId="534"/>
            <ac:spMk id="36" creationId="{F4509808-A783-4E54-9971-3C20611A273C}"/>
          </ac:spMkLst>
        </pc:spChg>
        <pc:spChg chg="mod">
          <ac:chgData name="Lars Ivar" userId="da83bdda-499a-4427-8775-f375be339a54" providerId="ADAL" clId="{9A0F3B70-5B95-42C4-94C3-05567C69E257}" dt="2021-03-15T11:40:41.710" v="4508"/>
          <ac:spMkLst>
            <pc:docMk/>
            <pc:sldMk cId="1421562340" sldId="534"/>
            <ac:spMk id="37" creationId="{36CB1D0A-9D6A-4569-9810-ACFFF1426AE1}"/>
          </ac:spMkLst>
        </pc:spChg>
        <pc:spChg chg="mod">
          <ac:chgData name="Lars Ivar" userId="da83bdda-499a-4427-8775-f375be339a54" providerId="ADAL" clId="{9A0F3B70-5B95-42C4-94C3-05567C69E257}" dt="2021-03-15T11:40:41.710" v="4508"/>
          <ac:spMkLst>
            <pc:docMk/>
            <pc:sldMk cId="1421562340" sldId="534"/>
            <ac:spMk id="38" creationId="{88EBD504-1126-4FE9-B755-CC20381F1CE7}"/>
          </ac:spMkLst>
        </pc:spChg>
        <pc:spChg chg="mod">
          <ac:chgData name="Lars Ivar" userId="da83bdda-499a-4427-8775-f375be339a54" providerId="ADAL" clId="{9A0F3B70-5B95-42C4-94C3-05567C69E257}" dt="2021-03-15T11:40:41.710" v="4508"/>
          <ac:spMkLst>
            <pc:docMk/>
            <pc:sldMk cId="1421562340" sldId="534"/>
            <ac:spMk id="39" creationId="{1EDB13C8-9DBA-4FD0-A220-2FA323268B0C}"/>
          </ac:spMkLst>
        </pc:spChg>
        <pc:spChg chg="mod">
          <ac:chgData name="Lars Ivar" userId="da83bdda-499a-4427-8775-f375be339a54" providerId="ADAL" clId="{9A0F3B70-5B95-42C4-94C3-05567C69E257}" dt="2021-03-15T11:40:41.710" v="4508"/>
          <ac:spMkLst>
            <pc:docMk/>
            <pc:sldMk cId="1421562340" sldId="534"/>
            <ac:spMk id="40" creationId="{80C0B271-5D71-4C1E-A445-715C48212F1C}"/>
          </ac:spMkLst>
        </pc:spChg>
        <pc:spChg chg="mod">
          <ac:chgData name="Lars Ivar" userId="da83bdda-499a-4427-8775-f375be339a54" providerId="ADAL" clId="{9A0F3B70-5B95-42C4-94C3-05567C69E257}" dt="2021-03-15T11:40:41.710" v="4508"/>
          <ac:spMkLst>
            <pc:docMk/>
            <pc:sldMk cId="1421562340" sldId="534"/>
            <ac:spMk id="41" creationId="{8755C40A-9304-4399-A596-B95EEDA506B4}"/>
          </ac:spMkLst>
        </pc:spChg>
        <pc:spChg chg="mod">
          <ac:chgData name="Lars Ivar" userId="da83bdda-499a-4427-8775-f375be339a54" providerId="ADAL" clId="{9A0F3B70-5B95-42C4-94C3-05567C69E257}" dt="2021-03-15T11:40:41.710" v="4508"/>
          <ac:spMkLst>
            <pc:docMk/>
            <pc:sldMk cId="1421562340" sldId="534"/>
            <ac:spMk id="42" creationId="{D28018BC-9BA7-4D56-B800-06FFD8EA0C95}"/>
          </ac:spMkLst>
        </pc:spChg>
        <pc:spChg chg="mod">
          <ac:chgData name="Lars Ivar" userId="da83bdda-499a-4427-8775-f375be339a54" providerId="ADAL" clId="{9A0F3B70-5B95-42C4-94C3-05567C69E257}" dt="2021-03-15T11:40:41.710" v="4508"/>
          <ac:spMkLst>
            <pc:docMk/>
            <pc:sldMk cId="1421562340" sldId="534"/>
            <ac:spMk id="55" creationId="{A178E546-3859-4D47-85CD-F9D35551B3FF}"/>
          </ac:spMkLst>
        </pc:spChg>
        <pc:grpChg chg="del">
          <ac:chgData name="Lars Ivar" userId="da83bdda-499a-4427-8775-f375be339a54" providerId="ADAL" clId="{9A0F3B70-5B95-42C4-94C3-05567C69E257}" dt="2021-03-15T11:40:41.446" v="4507" actId="478"/>
          <ac:grpSpMkLst>
            <pc:docMk/>
            <pc:sldMk cId="1421562340" sldId="534"/>
            <ac:grpSpMk id="21" creationId="{A727E4BD-2657-4527-B659-119C955BF573}"/>
          </ac:grpSpMkLst>
        </pc:grpChg>
        <pc:grpChg chg="add mod">
          <ac:chgData name="Lars Ivar" userId="da83bdda-499a-4427-8775-f375be339a54" providerId="ADAL" clId="{9A0F3B70-5B95-42C4-94C3-05567C69E257}" dt="2021-03-15T11:40:41.710" v="4508"/>
          <ac:grpSpMkLst>
            <pc:docMk/>
            <pc:sldMk cId="1421562340" sldId="534"/>
            <ac:grpSpMk id="25" creationId="{A6299D83-2A42-4D28-A367-FBC78B9AB9DE}"/>
          </ac:grpSpMkLst>
        </pc:grpChg>
        <pc:grpChg chg="mod">
          <ac:chgData name="Lars Ivar" userId="da83bdda-499a-4427-8775-f375be339a54" providerId="ADAL" clId="{9A0F3B70-5B95-42C4-94C3-05567C69E257}" dt="2021-03-15T11:40:41.710" v="4508"/>
          <ac:grpSpMkLst>
            <pc:docMk/>
            <pc:sldMk cId="1421562340" sldId="534"/>
            <ac:grpSpMk id="29" creationId="{167AC87E-51C0-480D-B849-2C4459FB25BC}"/>
          </ac:grpSpMkLst>
        </pc:grpChg>
        <pc:grpChg chg="mod">
          <ac:chgData name="Lars Ivar" userId="da83bdda-499a-4427-8775-f375be339a54" providerId="ADAL" clId="{9A0F3B70-5B95-42C4-94C3-05567C69E257}" dt="2021-03-15T11:40:41.710" v="4508"/>
          <ac:grpSpMkLst>
            <pc:docMk/>
            <pc:sldMk cId="1421562340" sldId="534"/>
            <ac:grpSpMk id="30" creationId="{99A93D61-2573-4923-B556-670F014EA31A}"/>
          </ac:grpSpMkLst>
        </pc:grpChg>
        <pc:grpChg chg="mod">
          <ac:chgData name="Lars Ivar" userId="da83bdda-499a-4427-8775-f375be339a54" providerId="ADAL" clId="{9A0F3B70-5B95-42C4-94C3-05567C69E257}" dt="2021-03-15T11:40:41.710" v="4508"/>
          <ac:grpSpMkLst>
            <pc:docMk/>
            <pc:sldMk cId="1421562340" sldId="534"/>
            <ac:grpSpMk id="31" creationId="{23A3C681-DF4C-41FC-9C57-A2E5A400446C}"/>
          </ac:grpSpMkLst>
        </pc:grpChg>
        <pc:grpChg chg="mod">
          <ac:chgData name="Lars Ivar" userId="da83bdda-499a-4427-8775-f375be339a54" providerId="ADAL" clId="{9A0F3B70-5B95-42C4-94C3-05567C69E257}" dt="2021-03-15T11:40:41.710" v="4508"/>
          <ac:grpSpMkLst>
            <pc:docMk/>
            <pc:sldMk cId="1421562340" sldId="534"/>
            <ac:grpSpMk id="32" creationId="{86B1221C-9F2C-411C-9BF0-C9C3FB46A52D}"/>
          </ac:grpSpMkLst>
        </pc:grpChg>
        <pc:grpChg chg="mod">
          <ac:chgData name="Lars Ivar" userId="da83bdda-499a-4427-8775-f375be339a54" providerId="ADAL" clId="{9A0F3B70-5B95-42C4-94C3-05567C69E257}" dt="2021-03-15T11:40:41.710" v="4508"/>
          <ac:grpSpMkLst>
            <pc:docMk/>
            <pc:sldMk cId="1421562340" sldId="534"/>
            <ac:grpSpMk id="33" creationId="{47E485CE-3D7B-4E7D-812E-39B2FCCBA09E}"/>
          </ac:grpSpMkLst>
        </pc:grpChg>
      </pc:sldChg>
      <pc:sldChg chg="addSp delSp modSp mod ord">
        <pc:chgData name="Lars Ivar" userId="da83bdda-499a-4427-8775-f375be339a54" providerId="ADAL" clId="{9A0F3B70-5B95-42C4-94C3-05567C69E257}" dt="2021-03-17T20:46:41.224" v="7529" actId="403"/>
        <pc:sldMkLst>
          <pc:docMk/>
          <pc:sldMk cId="597095498" sldId="535"/>
        </pc:sldMkLst>
        <pc:spChg chg="add del">
          <ac:chgData name="Lars Ivar" userId="da83bdda-499a-4427-8775-f375be339a54" providerId="ADAL" clId="{9A0F3B70-5B95-42C4-94C3-05567C69E257}" dt="2021-03-15T10:37:19.695" v="3575" actId="478"/>
          <ac:spMkLst>
            <pc:docMk/>
            <pc:sldMk cId="597095498" sldId="535"/>
            <ac:spMk id="4" creationId="{B77B0043-E0E6-4891-A7DA-A95FABF235F9}"/>
          </ac:spMkLst>
        </pc:spChg>
        <pc:spChg chg="mod">
          <ac:chgData name="Lars Ivar" userId="da83bdda-499a-4427-8775-f375be339a54" providerId="ADAL" clId="{9A0F3B70-5B95-42C4-94C3-05567C69E257}" dt="2021-03-17T20:46:41.224" v="7529" actId="403"/>
          <ac:spMkLst>
            <pc:docMk/>
            <pc:sldMk cId="597095498" sldId="535"/>
            <ac:spMk id="7" creationId="{63991A79-2DF5-4987-8986-F8B6237BF2C9}"/>
          </ac:spMkLst>
        </pc:spChg>
        <pc:spChg chg="del">
          <ac:chgData name="Lars Ivar" userId="da83bdda-499a-4427-8775-f375be339a54" providerId="ADAL" clId="{9A0F3B70-5B95-42C4-94C3-05567C69E257}" dt="2021-03-15T10:36:57.835" v="3556" actId="478"/>
          <ac:spMkLst>
            <pc:docMk/>
            <pc:sldMk cId="597095498" sldId="535"/>
            <ac:spMk id="29" creationId="{2D298409-223E-4AAF-90AD-46E6995645A1}"/>
          </ac:spMkLst>
        </pc:spChg>
        <pc:spChg chg="mod">
          <ac:chgData name="Lars Ivar" userId="da83bdda-499a-4427-8775-f375be339a54" providerId="ADAL" clId="{9A0F3B70-5B95-42C4-94C3-05567C69E257}" dt="2021-03-15T11:40:05.002" v="4489"/>
          <ac:spMkLst>
            <pc:docMk/>
            <pc:sldMk cId="597095498" sldId="535"/>
            <ac:spMk id="41" creationId="{4F6D281B-B6B0-429A-9585-3AD67C098F00}"/>
          </ac:spMkLst>
        </pc:spChg>
        <pc:spChg chg="mod">
          <ac:chgData name="Lars Ivar" userId="da83bdda-499a-4427-8775-f375be339a54" providerId="ADAL" clId="{9A0F3B70-5B95-42C4-94C3-05567C69E257}" dt="2021-03-15T11:40:05.002" v="4489"/>
          <ac:spMkLst>
            <pc:docMk/>
            <pc:sldMk cId="597095498" sldId="535"/>
            <ac:spMk id="44" creationId="{0E39B5BF-2F27-4D9A-BE72-B94F37B6C3C9}"/>
          </ac:spMkLst>
        </pc:spChg>
        <pc:spChg chg="mod">
          <ac:chgData name="Lars Ivar" userId="da83bdda-499a-4427-8775-f375be339a54" providerId="ADAL" clId="{9A0F3B70-5B95-42C4-94C3-05567C69E257}" dt="2021-03-15T11:40:05.002" v="4489"/>
          <ac:spMkLst>
            <pc:docMk/>
            <pc:sldMk cId="597095498" sldId="535"/>
            <ac:spMk id="47" creationId="{4FFACD6F-E1FA-421F-92F7-98329BF3C943}"/>
          </ac:spMkLst>
        </pc:spChg>
        <pc:spChg chg="mod">
          <ac:chgData name="Lars Ivar" userId="da83bdda-499a-4427-8775-f375be339a54" providerId="ADAL" clId="{9A0F3B70-5B95-42C4-94C3-05567C69E257}" dt="2021-03-15T11:40:05.002" v="4489"/>
          <ac:spMkLst>
            <pc:docMk/>
            <pc:sldMk cId="597095498" sldId="535"/>
            <ac:spMk id="48" creationId="{1FEF7085-D95B-4974-ADA2-D1D2BBD67200}"/>
          </ac:spMkLst>
        </pc:spChg>
        <pc:spChg chg="mod">
          <ac:chgData name="Lars Ivar" userId="da83bdda-499a-4427-8775-f375be339a54" providerId="ADAL" clId="{9A0F3B70-5B95-42C4-94C3-05567C69E257}" dt="2021-03-15T11:40:05.002" v="4489"/>
          <ac:spMkLst>
            <pc:docMk/>
            <pc:sldMk cId="597095498" sldId="535"/>
            <ac:spMk id="49" creationId="{DA6D3821-F33F-4552-9903-39985DCC8955}"/>
          </ac:spMkLst>
        </pc:spChg>
        <pc:spChg chg="mod">
          <ac:chgData name="Lars Ivar" userId="da83bdda-499a-4427-8775-f375be339a54" providerId="ADAL" clId="{9A0F3B70-5B95-42C4-94C3-05567C69E257}" dt="2021-03-15T11:40:05.002" v="4489"/>
          <ac:spMkLst>
            <pc:docMk/>
            <pc:sldMk cId="597095498" sldId="535"/>
            <ac:spMk id="50" creationId="{01154821-A33C-43E8-91FA-CA19F8DFC207}"/>
          </ac:spMkLst>
        </pc:spChg>
        <pc:spChg chg="mod">
          <ac:chgData name="Lars Ivar" userId="da83bdda-499a-4427-8775-f375be339a54" providerId="ADAL" clId="{9A0F3B70-5B95-42C4-94C3-05567C69E257}" dt="2021-03-15T11:40:05.002" v="4489"/>
          <ac:spMkLst>
            <pc:docMk/>
            <pc:sldMk cId="597095498" sldId="535"/>
            <ac:spMk id="51" creationId="{0F4AB8EF-9458-4A62-B1AC-44698EF90BD9}"/>
          </ac:spMkLst>
        </pc:spChg>
        <pc:spChg chg="mod">
          <ac:chgData name="Lars Ivar" userId="da83bdda-499a-4427-8775-f375be339a54" providerId="ADAL" clId="{9A0F3B70-5B95-42C4-94C3-05567C69E257}" dt="2021-03-15T11:40:05.002" v="4489"/>
          <ac:spMkLst>
            <pc:docMk/>
            <pc:sldMk cId="597095498" sldId="535"/>
            <ac:spMk id="52" creationId="{917F498A-9965-44AE-ACEF-29CED03BC83D}"/>
          </ac:spMkLst>
        </pc:spChg>
        <pc:spChg chg="mod">
          <ac:chgData name="Lars Ivar" userId="da83bdda-499a-4427-8775-f375be339a54" providerId="ADAL" clId="{9A0F3B70-5B95-42C4-94C3-05567C69E257}" dt="2021-03-15T11:40:00.529" v="4486" actId="6549"/>
          <ac:spMkLst>
            <pc:docMk/>
            <pc:sldMk cId="597095498" sldId="535"/>
            <ac:spMk id="60" creationId="{431092C2-0C91-4B63-B749-923A1EC62E60}"/>
          </ac:spMkLst>
        </pc:spChg>
        <pc:spChg chg="del">
          <ac:chgData name="Lars Ivar" userId="da83bdda-499a-4427-8775-f375be339a54" providerId="ADAL" clId="{9A0F3B70-5B95-42C4-94C3-05567C69E257}" dt="2021-03-15T11:40:02.704" v="4487" actId="478"/>
          <ac:spMkLst>
            <pc:docMk/>
            <pc:sldMk cId="597095498" sldId="535"/>
            <ac:spMk id="62" creationId="{781A0DFD-71C2-4D17-BCBF-62A71D461410}"/>
          </ac:spMkLst>
        </pc:spChg>
        <pc:spChg chg="mod">
          <ac:chgData name="Lars Ivar" userId="da83bdda-499a-4427-8775-f375be339a54" providerId="ADAL" clId="{9A0F3B70-5B95-42C4-94C3-05567C69E257}" dt="2021-03-15T11:40:05.002" v="4489"/>
          <ac:spMkLst>
            <pc:docMk/>
            <pc:sldMk cId="597095498" sldId="535"/>
            <ac:spMk id="63" creationId="{E68A2D30-2C8E-4DE5-B578-910D3D34EAD9}"/>
          </ac:spMkLst>
        </pc:spChg>
        <pc:spChg chg="mod">
          <ac:chgData name="Lars Ivar" userId="da83bdda-499a-4427-8775-f375be339a54" providerId="ADAL" clId="{9A0F3B70-5B95-42C4-94C3-05567C69E257}" dt="2021-03-15T11:40:05.002" v="4489"/>
          <ac:spMkLst>
            <pc:docMk/>
            <pc:sldMk cId="597095498" sldId="535"/>
            <ac:spMk id="65" creationId="{811595C9-237D-40D1-9F58-3A5893E78B2A}"/>
          </ac:spMkLst>
        </pc:spChg>
        <pc:grpChg chg="del">
          <ac:chgData name="Lars Ivar" userId="da83bdda-499a-4427-8775-f375be339a54" providerId="ADAL" clId="{9A0F3B70-5B95-42C4-94C3-05567C69E257}" dt="2021-03-15T11:40:04.670" v="4488" actId="478"/>
          <ac:grpSpMkLst>
            <pc:docMk/>
            <pc:sldMk cId="597095498" sldId="535"/>
            <ac:grpSpMk id="28" creationId="{9C04B184-E98C-40DB-A388-5293559FD662}"/>
          </ac:grpSpMkLst>
        </pc:grpChg>
        <pc:grpChg chg="del">
          <ac:chgData name="Lars Ivar" userId="da83bdda-499a-4427-8775-f375be339a54" providerId="ADAL" clId="{9A0F3B70-5B95-42C4-94C3-05567C69E257}" dt="2021-03-15T11:40:02.704" v="4487" actId="478"/>
          <ac:grpSpMkLst>
            <pc:docMk/>
            <pc:sldMk cId="597095498" sldId="535"/>
            <ac:grpSpMk id="30" creationId="{A00D3301-3C8E-4A70-94F6-1F614198CAEF}"/>
          </ac:grpSpMkLst>
        </pc:grpChg>
        <pc:grpChg chg="add mod">
          <ac:chgData name="Lars Ivar" userId="da83bdda-499a-4427-8775-f375be339a54" providerId="ADAL" clId="{9A0F3B70-5B95-42C4-94C3-05567C69E257}" dt="2021-03-15T11:40:05.002" v="4489"/>
          <ac:grpSpMkLst>
            <pc:docMk/>
            <pc:sldMk cId="597095498" sldId="535"/>
            <ac:grpSpMk id="35" creationId="{B54A3147-D2C2-4FBB-BADE-A97B477EFFA9}"/>
          </ac:grpSpMkLst>
        </pc:grpChg>
        <pc:grpChg chg="mod">
          <ac:chgData name="Lars Ivar" userId="da83bdda-499a-4427-8775-f375be339a54" providerId="ADAL" clId="{9A0F3B70-5B95-42C4-94C3-05567C69E257}" dt="2021-03-15T11:40:05.002" v="4489"/>
          <ac:grpSpMkLst>
            <pc:docMk/>
            <pc:sldMk cId="597095498" sldId="535"/>
            <ac:grpSpMk id="36" creationId="{D1A2E314-5ADA-409B-89F0-FBE8C452141E}"/>
          </ac:grpSpMkLst>
        </pc:grpChg>
        <pc:grpChg chg="mod">
          <ac:chgData name="Lars Ivar" userId="da83bdda-499a-4427-8775-f375be339a54" providerId="ADAL" clId="{9A0F3B70-5B95-42C4-94C3-05567C69E257}" dt="2021-03-15T11:40:05.002" v="4489"/>
          <ac:grpSpMkLst>
            <pc:docMk/>
            <pc:sldMk cId="597095498" sldId="535"/>
            <ac:grpSpMk id="37" creationId="{7887AE13-2232-4F7F-AD66-E6E87C2647DE}"/>
          </ac:grpSpMkLst>
        </pc:grpChg>
        <pc:grpChg chg="mod">
          <ac:chgData name="Lars Ivar" userId="da83bdda-499a-4427-8775-f375be339a54" providerId="ADAL" clId="{9A0F3B70-5B95-42C4-94C3-05567C69E257}" dt="2021-03-15T11:40:05.002" v="4489"/>
          <ac:grpSpMkLst>
            <pc:docMk/>
            <pc:sldMk cId="597095498" sldId="535"/>
            <ac:grpSpMk id="38" creationId="{48D3BAE4-4B3D-42D0-A3E6-4B8A6DF1F296}"/>
          </ac:grpSpMkLst>
        </pc:grpChg>
        <pc:grpChg chg="mod">
          <ac:chgData name="Lars Ivar" userId="da83bdda-499a-4427-8775-f375be339a54" providerId="ADAL" clId="{9A0F3B70-5B95-42C4-94C3-05567C69E257}" dt="2021-03-15T11:40:05.002" v="4489"/>
          <ac:grpSpMkLst>
            <pc:docMk/>
            <pc:sldMk cId="597095498" sldId="535"/>
            <ac:grpSpMk id="39" creationId="{CB4733C5-C83A-4A36-BA63-1F24ED4D4EF5}"/>
          </ac:grpSpMkLst>
        </pc:grpChg>
        <pc:grpChg chg="mod">
          <ac:chgData name="Lars Ivar" userId="da83bdda-499a-4427-8775-f375be339a54" providerId="ADAL" clId="{9A0F3B70-5B95-42C4-94C3-05567C69E257}" dt="2021-03-15T11:40:05.002" v="4489"/>
          <ac:grpSpMkLst>
            <pc:docMk/>
            <pc:sldMk cId="597095498" sldId="535"/>
            <ac:grpSpMk id="40" creationId="{641E06CC-FBB8-4D2B-9866-0A00D1966622}"/>
          </ac:grpSpMkLst>
        </pc:grpChg>
        <pc:graphicFrameChg chg="del">
          <ac:chgData name="Lars Ivar" userId="da83bdda-499a-4427-8775-f375be339a54" providerId="ADAL" clId="{9A0F3B70-5B95-42C4-94C3-05567C69E257}" dt="2021-03-15T10:36:54.652" v="3554" actId="478"/>
          <ac:graphicFrameMkLst>
            <pc:docMk/>
            <pc:sldMk cId="597095498" sldId="535"/>
            <ac:graphicFrameMk id="24" creationId="{A4653B16-C9F5-4065-839A-0C08F58CD2B1}"/>
          </ac:graphicFrameMkLst>
        </pc:graphicFrameChg>
        <pc:picChg chg="add mod">
          <ac:chgData name="Lars Ivar" userId="da83bdda-499a-4427-8775-f375be339a54" providerId="ADAL" clId="{9A0F3B70-5B95-42C4-94C3-05567C69E257}" dt="2021-03-15T10:38:17.797" v="3598" actId="1076"/>
          <ac:picMkLst>
            <pc:docMk/>
            <pc:sldMk cId="597095498" sldId="535"/>
            <ac:picMk id="3" creationId="{2E042436-2022-42AE-97B1-7F259BBB48BC}"/>
          </ac:picMkLst>
        </pc:picChg>
        <pc:picChg chg="del">
          <ac:chgData name="Lars Ivar" userId="da83bdda-499a-4427-8775-f375be339a54" providerId="ADAL" clId="{9A0F3B70-5B95-42C4-94C3-05567C69E257}" dt="2021-03-15T10:36:58.577" v="3557" actId="478"/>
          <ac:picMkLst>
            <pc:docMk/>
            <pc:sldMk cId="597095498" sldId="535"/>
            <ac:picMk id="25" creationId="{9DBF8B26-6FDD-45BF-AB83-E9F76D5280C8}"/>
          </ac:picMkLst>
        </pc:picChg>
      </pc:sldChg>
      <pc:sldChg chg="addSp delSp modSp mod modNotesTx">
        <pc:chgData name="Lars Ivar" userId="da83bdda-499a-4427-8775-f375be339a54" providerId="ADAL" clId="{9A0F3B70-5B95-42C4-94C3-05567C69E257}" dt="2021-03-15T11:47:37.391" v="5129" actId="20577"/>
        <pc:sldMkLst>
          <pc:docMk/>
          <pc:sldMk cId="1225024776" sldId="537"/>
        </pc:sldMkLst>
        <pc:spChg chg="mod">
          <ac:chgData name="Lars Ivar" userId="da83bdda-499a-4427-8775-f375be339a54" providerId="ADAL" clId="{9A0F3B70-5B95-42C4-94C3-05567C69E257}" dt="2021-03-15T11:41:28.578" v="4530"/>
          <ac:spMkLst>
            <pc:docMk/>
            <pc:sldMk cId="1225024776" sldId="537"/>
            <ac:spMk id="34" creationId="{F9C06946-469C-49F2-BB82-933366778619}"/>
          </ac:spMkLst>
        </pc:spChg>
        <pc:spChg chg="mod">
          <ac:chgData name="Lars Ivar" userId="da83bdda-499a-4427-8775-f375be339a54" providerId="ADAL" clId="{9A0F3B70-5B95-42C4-94C3-05567C69E257}" dt="2021-03-15T11:41:28.578" v="4530"/>
          <ac:spMkLst>
            <pc:docMk/>
            <pc:sldMk cId="1225024776" sldId="537"/>
            <ac:spMk id="35" creationId="{8F45E6D8-5A34-49A2-9648-D456F50C6B00}"/>
          </ac:spMkLst>
        </pc:spChg>
        <pc:spChg chg="mod">
          <ac:chgData name="Lars Ivar" userId="da83bdda-499a-4427-8775-f375be339a54" providerId="ADAL" clId="{9A0F3B70-5B95-42C4-94C3-05567C69E257}" dt="2021-03-15T11:41:28.578" v="4530"/>
          <ac:spMkLst>
            <pc:docMk/>
            <pc:sldMk cId="1225024776" sldId="537"/>
            <ac:spMk id="36" creationId="{C29530B0-40DC-45BB-9E0E-605392B30424}"/>
          </ac:spMkLst>
        </pc:spChg>
        <pc:spChg chg="mod">
          <ac:chgData name="Lars Ivar" userId="da83bdda-499a-4427-8775-f375be339a54" providerId="ADAL" clId="{9A0F3B70-5B95-42C4-94C3-05567C69E257}" dt="2021-03-15T11:41:28.578" v="4530"/>
          <ac:spMkLst>
            <pc:docMk/>
            <pc:sldMk cId="1225024776" sldId="537"/>
            <ac:spMk id="37" creationId="{F5B3A5A3-6CE3-4D28-8559-2B59FE157C20}"/>
          </ac:spMkLst>
        </pc:spChg>
        <pc:spChg chg="mod">
          <ac:chgData name="Lars Ivar" userId="da83bdda-499a-4427-8775-f375be339a54" providerId="ADAL" clId="{9A0F3B70-5B95-42C4-94C3-05567C69E257}" dt="2021-03-15T11:41:28.578" v="4530"/>
          <ac:spMkLst>
            <pc:docMk/>
            <pc:sldMk cId="1225024776" sldId="537"/>
            <ac:spMk id="38" creationId="{963ECD9C-CE8F-45BC-BF56-4CB3D39D26EF}"/>
          </ac:spMkLst>
        </pc:spChg>
        <pc:spChg chg="mod">
          <ac:chgData name="Lars Ivar" userId="da83bdda-499a-4427-8775-f375be339a54" providerId="ADAL" clId="{9A0F3B70-5B95-42C4-94C3-05567C69E257}" dt="2021-03-15T11:41:28.578" v="4530"/>
          <ac:spMkLst>
            <pc:docMk/>
            <pc:sldMk cId="1225024776" sldId="537"/>
            <ac:spMk id="39" creationId="{64337D95-AED3-4B20-9B79-8D7F24A8B1B5}"/>
          </ac:spMkLst>
        </pc:spChg>
        <pc:spChg chg="mod">
          <ac:chgData name="Lars Ivar" userId="da83bdda-499a-4427-8775-f375be339a54" providerId="ADAL" clId="{9A0F3B70-5B95-42C4-94C3-05567C69E257}" dt="2021-03-15T11:41:28.578" v="4530"/>
          <ac:spMkLst>
            <pc:docMk/>
            <pc:sldMk cId="1225024776" sldId="537"/>
            <ac:spMk id="40" creationId="{7E20E47A-A8B7-44B2-BC88-E8EA430622C0}"/>
          </ac:spMkLst>
        </pc:spChg>
        <pc:spChg chg="mod">
          <ac:chgData name="Lars Ivar" userId="da83bdda-499a-4427-8775-f375be339a54" providerId="ADAL" clId="{9A0F3B70-5B95-42C4-94C3-05567C69E257}" dt="2021-03-15T11:41:28.578" v="4530"/>
          <ac:spMkLst>
            <pc:docMk/>
            <pc:sldMk cId="1225024776" sldId="537"/>
            <ac:spMk id="41" creationId="{C66B5644-5B4E-4FBE-91C6-6E13CB6A2F5B}"/>
          </ac:spMkLst>
        </pc:spChg>
        <pc:spChg chg="mod">
          <ac:chgData name="Lars Ivar" userId="da83bdda-499a-4427-8775-f375be339a54" providerId="ADAL" clId="{9A0F3B70-5B95-42C4-94C3-05567C69E257}" dt="2021-03-15T11:41:28.578" v="4530"/>
          <ac:spMkLst>
            <pc:docMk/>
            <pc:sldMk cId="1225024776" sldId="537"/>
            <ac:spMk id="42" creationId="{AD9814F8-2288-4B58-8051-ADFDC68CACF6}"/>
          </ac:spMkLst>
        </pc:spChg>
        <pc:spChg chg="mod">
          <ac:chgData name="Lars Ivar" userId="da83bdda-499a-4427-8775-f375be339a54" providerId="ADAL" clId="{9A0F3B70-5B95-42C4-94C3-05567C69E257}" dt="2021-03-15T11:41:28.578" v="4530"/>
          <ac:spMkLst>
            <pc:docMk/>
            <pc:sldMk cId="1225024776" sldId="537"/>
            <ac:spMk id="58" creationId="{A660E5F7-160E-4107-BAE8-E6451DBE48AD}"/>
          </ac:spMkLst>
        </pc:spChg>
        <pc:grpChg chg="del">
          <ac:chgData name="Lars Ivar" userId="da83bdda-499a-4427-8775-f375be339a54" providerId="ADAL" clId="{9A0F3B70-5B95-42C4-94C3-05567C69E257}" dt="2021-03-15T11:41:28.294" v="4529" actId="478"/>
          <ac:grpSpMkLst>
            <pc:docMk/>
            <pc:sldMk cId="1225024776" sldId="537"/>
            <ac:grpSpMk id="24" creationId="{82D4257C-B51C-4612-9B4A-929DCE853C36}"/>
          </ac:grpSpMkLst>
        </pc:grpChg>
        <pc:grpChg chg="add mod">
          <ac:chgData name="Lars Ivar" userId="da83bdda-499a-4427-8775-f375be339a54" providerId="ADAL" clId="{9A0F3B70-5B95-42C4-94C3-05567C69E257}" dt="2021-03-15T11:41:28.578" v="4530"/>
          <ac:grpSpMkLst>
            <pc:docMk/>
            <pc:sldMk cId="1225024776" sldId="537"/>
            <ac:grpSpMk id="25" creationId="{FEF9646B-60D8-459A-A48F-CFDE517EF122}"/>
          </ac:grpSpMkLst>
        </pc:grpChg>
        <pc:grpChg chg="mod">
          <ac:chgData name="Lars Ivar" userId="da83bdda-499a-4427-8775-f375be339a54" providerId="ADAL" clId="{9A0F3B70-5B95-42C4-94C3-05567C69E257}" dt="2021-03-15T11:41:28.578" v="4530"/>
          <ac:grpSpMkLst>
            <pc:docMk/>
            <pc:sldMk cId="1225024776" sldId="537"/>
            <ac:grpSpMk id="29" creationId="{F474662A-8E9F-4634-B1C4-883AAF88DA96}"/>
          </ac:grpSpMkLst>
        </pc:grpChg>
        <pc:grpChg chg="mod">
          <ac:chgData name="Lars Ivar" userId="da83bdda-499a-4427-8775-f375be339a54" providerId="ADAL" clId="{9A0F3B70-5B95-42C4-94C3-05567C69E257}" dt="2021-03-15T11:41:28.578" v="4530"/>
          <ac:grpSpMkLst>
            <pc:docMk/>
            <pc:sldMk cId="1225024776" sldId="537"/>
            <ac:grpSpMk id="30" creationId="{39676A95-85B1-4418-A3C8-8BB8C1C65234}"/>
          </ac:grpSpMkLst>
        </pc:grpChg>
        <pc:grpChg chg="mod">
          <ac:chgData name="Lars Ivar" userId="da83bdda-499a-4427-8775-f375be339a54" providerId="ADAL" clId="{9A0F3B70-5B95-42C4-94C3-05567C69E257}" dt="2021-03-15T11:41:28.578" v="4530"/>
          <ac:grpSpMkLst>
            <pc:docMk/>
            <pc:sldMk cId="1225024776" sldId="537"/>
            <ac:grpSpMk id="31" creationId="{C7DC349A-104E-43BD-BB60-462CDBB2FA05}"/>
          </ac:grpSpMkLst>
        </pc:grpChg>
        <pc:grpChg chg="mod">
          <ac:chgData name="Lars Ivar" userId="da83bdda-499a-4427-8775-f375be339a54" providerId="ADAL" clId="{9A0F3B70-5B95-42C4-94C3-05567C69E257}" dt="2021-03-15T11:41:28.578" v="4530"/>
          <ac:grpSpMkLst>
            <pc:docMk/>
            <pc:sldMk cId="1225024776" sldId="537"/>
            <ac:grpSpMk id="32" creationId="{C9999584-8F64-41A0-9ECA-DA13F0A7274B}"/>
          </ac:grpSpMkLst>
        </pc:grpChg>
        <pc:grpChg chg="mod">
          <ac:chgData name="Lars Ivar" userId="da83bdda-499a-4427-8775-f375be339a54" providerId="ADAL" clId="{9A0F3B70-5B95-42C4-94C3-05567C69E257}" dt="2021-03-15T11:41:28.578" v="4530"/>
          <ac:grpSpMkLst>
            <pc:docMk/>
            <pc:sldMk cId="1225024776" sldId="537"/>
            <ac:grpSpMk id="33" creationId="{8EA9D368-43D4-406F-A2AD-EBC45FE64372}"/>
          </ac:grpSpMkLst>
        </pc:grpChg>
      </pc:sldChg>
      <pc:sldChg chg="addSp modSp mod modNotesTx">
        <pc:chgData name="Lars Ivar" userId="da83bdda-499a-4427-8775-f375be339a54" providerId="ADAL" clId="{9A0F3B70-5B95-42C4-94C3-05567C69E257}" dt="2021-03-18T15:07:45.437" v="8494" actId="21"/>
        <pc:sldMkLst>
          <pc:docMk/>
          <pc:sldMk cId="1353464509" sldId="539"/>
        </pc:sldMkLst>
        <pc:spChg chg="mod">
          <ac:chgData name="Lars Ivar" userId="da83bdda-499a-4427-8775-f375be339a54" providerId="ADAL" clId="{9A0F3B70-5B95-42C4-94C3-05567C69E257}" dt="2021-03-18T15:07:45.437" v="8494" actId="21"/>
          <ac:spMkLst>
            <pc:docMk/>
            <pc:sldMk cId="1353464509" sldId="539"/>
            <ac:spMk id="7" creationId="{63991A79-2DF5-4987-8986-F8B6237BF2C9}"/>
          </ac:spMkLst>
        </pc:spChg>
        <pc:spChg chg="mod">
          <ac:chgData name="Lars Ivar" userId="da83bdda-499a-4427-8775-f375be339a54" providerId="ADAL" clId="{9A0F3B70-5B95-42C4-94C3-05567C69E257}" dt="2021-03-15T09:54:32.028" v="2705" actId="207"/>
          <ac:spMkLst>
            <pc:docMk/>
            <pc:sldMk cId="1353464509" sldId="539"/>
            <ac:spMk id="90" creationId="{4F10C43F-6BD8-4EB5-A800-7C42E22DFEDF}"/>
          </ac:spMkLst>
        </pc:spChg>
        <pc:spChg chg="mod">
          <ac:chgData name="Lars Ivar" userId="da83bdda-499a-4427-8775-f375be339a54" providerId="ADAL" clId="{9A0F3B70-5B95-42C4-94C3-05567C69E257}" dt="2021-03-15T09:54:28.324" v="2704" actId="207"/>
          <ac:spMkLst>
            <pc:docMk/>
            <pc:sldMk cId="1353464509" sldId="539"/>
            <ac:spMk id="91" creationId="{BF8E3203-A77A-4C46-B784-B4B06D8E7AB1}"/>
          </ac:spMkLst>
        </pc:spChg>
        <pc:picChg chg="add mod">
          <ac:chgData name="Lars Ivar" userId="da83bdda-499a-4427-8775-f375be339a54" providerId="ADAL" clId="{9A0F3B70-5B95-42C4-94C3-05567C69E257}" dt="2021-03-17T20:34:20.376" v="7097" actId="1076"/>
          <ac:picMkLst>
            <pc:docMk/>
            <pc:sldMk cId="1353464509" sldId="539"/>
            <ac:picMk id="24" creationId="{F45113E7-DD34-4D0D-A470-FC10859F5F17}"/>
          </ac:picMkLst>
        </pc:picChg>
      </pc:sldChg>
      <pc:sldChg chg="modSp del mod">
        <pc:chgData name="Lars Ivar" userId="da83bdda-499a-4427-8775-f375be339a54" providerId="ADAL" clId="{9A0F3B70-5B95-42C4-94C3-05567C69E257}" dt="2021-03-15T07:53:31.004" v="986" actId="47"/>
        <pc:sldMkLst>
          <pc:docMk/>
          <pc:sldMk cId="31436401" sldId="540"/>
        </pc:sldMkLst>
        <pc:picChg chg="mod">
          <ac:chgData name="Lars Ivar" userId="da83bdda-499a-4427-8775-f375be339a54" providerId="ADAL" clId="{9A0F3B70-5B95-42C4-94C3-05567C69E257}" dt="2021-03-15T07:52:56.552" v="984" actId="14100"/>
          <ac:picMkLst>
            <pc:docMk/>
            <pc:sldMk cId="31436401" sldId="540"/>
            <ac:picMk id="3" creationId="{6244319C-90A0-472D-893F-E7376EBA741B}"/>
          </ac:picMkLst>
        </pc:picChg>
      </pc:sldChg>
      <pc:sldChg chg="addSp delSp modSp mod modNotesTx">
        <pc:chgData name="Lars Ivar" userId="da83bdda-499a-4427-8775-f375be339a54" providerId="ADAL" clId="{9A0F3B70-5B95-42C4-94C3-05567C69E257}" dt="2021-03-18T15:08:03.492" v="8496" actId="14100"/>
        <pc:sldMkLst>
          <pc:docMk/>
          <pc:sldMk cId="912018181" sldId="541"/>
        </pc:sldMkLst>
        <pc:spChg chg="mod">
          <ac:chgData name="Lars Ivar" userId="da83bdda-499a-4427-8775-f375be339a54" providerId="ADAL" clId="{9A0F3B70-5B95-42C4-94C3-05567C69E257}" dt="2021-03-18T15:08:00.915" v="8495" actId="403"/>
          <ac:spMkLst>
            <pc:docMk/>
            <pc:sldMk cId="912018181" sldId="541"/>
            <ac:spMk id="7" creationId="{63991A79-2DF5-4987-8986-F8B6237BF2C9}"/>
          </ac:spMkLst>
        </pc:spChg>
        <pc:spChg chg="mod">
          <ac:chgData name="Lars Ivar" userId="da83bdda-499a-4427-8775-f375be339a54" providerId="ADAL" clId="{9A0F3B70-5B95-42C4-94C3-05567C69E257}" dt="2021-03-15T09:57:16.183" v="2731"/>
          <ac:spMkLst>
            <pc:docMk/>
            <pc:sldMk cId="912018181" sldId="541"/>
            <ac:spMk id="30" creationId="{F0C7DCBE-0391-47AB-962A-C9A7231EAFA2}"/>
          </ac:spMkLst>
        </pc:spChg>
        <pc:spChg chg="mod">
          <ac:chgData name="Lars Ivar" userId="da83bdda-499a-4427-8775-f375be339a54" providerId="ADAL" clId="{9A0F3B70-5B95-42C4-94C3-05567C69E257}" dt="2021-03-15T09:57:16.183" v="2731"/>
          <ac:spMkLst>
            <pc:docMk/>
            <pc:sldMk cId="912018181" sldId="541"/>
            <ac:spMk id="31" creationId="{EF4A9744-49B2-465B-A1F9-E47415B36124}"/>
          </ac:spMkLst>
        </pc:spChg>
        <pc:spChg chg="mod">
          <ac:chgData name="Lars Ivar" userId="da83bdda-499a-4427-8775-f375be339a54" providerId="ADAL" clId="{9A0F3B70-5B95-42C4-94C3-05567C69E257}" dt="2021-03-15T09:57:16.183" v="2731"/>
          <ac:spMkLst>
            <pc:docMk/>
            <pc:sldMk cId="912018181" sldId="541"/>
            <ac:spMk id="32" creationId="{214B6A37-96B2-4095-A28F-7743FBE83418}"/>
          </ac:spMkLst>
        </pc:spChg>
        <pc:spChg chg="mod">
          <ac:chgData name="Lars Ivar" userId="da83bdda-499a-4427-8775-f375be339a54" providerId="ADAL" clId="{9A0F3B70-5B95-42C4-94C3-05567C69E257}" dt="2021-03-15T09:57:16.183" v="2731"/>
          <ac:spMkLst>
            <pc:docMk/>
            <pc:sldMk cId="912018181" sldId="541"/>
            <ac:spMk id="33" creationId="{CE394BDC-B4DF-41F4-BCB3-1D50F5A9A59A}"/>
          </ac:spMkLst>
        </pc:spChg>
        <pc:spChg chg="mod">
          <ac:chgData name="Lars Ivar" userId="da83bdda-499a-4427-8775-f375be339a54" providerId="ADAL" clId="{9A0F3B70-5B95-42C4-94C3-05567C69E257}" dt="2021-03-15T09:57:16.183" v="2731"/>
          <ac:spMkLst>
            <pc:docMk/>
            <pc:sldMk cId="912018181" sldId="541"/>
            <ac:spMk id="34" creationId="{06C6D719-A4B9-4BF4-B99B-440037911345}"/>
          </ac:spMkLst>
        </pc:spChg>
        <pc:spChg chg="mod">
          <ac:chgData name="Lars Ivar" userId="da83bdda-499a-4427-8775-f375be339a54" providerId="ADAL" clId="{9A0F3B70-5B95-42C4-94C3-05567C69E257}" dt="2021-03-15T09:57:16.183" v="2731"/>
          <ac:spMkLst>
            <pc:docMk/>
            <pc:sldMk cId="912018181" sldId="541"/>
            <ac:spMk id="53" creationId="{BEBAF236-78E4-416C-84B0-1EA908E7A8E6}"/>
          </ac:spMkLst>
        </pc:spChg>
        <pc:spChg chg="mod">
          <ac:chgData name="Lars Ivar" userId="da83bdda-499a-4427-8775-f375be339a54" providerId="ADAL" clId="{9A0F3B70-5B95-42C4-94C3-05567C69E257}" dt="2021-03-15T09:57:16.183" v="2731"/>
          <ac:spMkLst>
            <pc:docMk/>
            <pc:sldMk cId="912018181" sldId="541"/>
            <ac:spMk id="54" creationId="{227EC27B-2870-4F75-B7BD-169D8F3B7F33}"/>
          </ac:spMkLst>
        </pc:spChg>
        <pc:spChg chg="mod">
          <ac:chgData name="Lars Ivar" userId="da83bdda-499a-4427-8775-f375be339a54" providerId="ADAL" clId="{9A0F3B70-5B95-42C4-94C3-05567C69E257}" dt="2021-03-15T09:57:16.183" v="2731"/>
          <ac:spMkLst>
            <pc:docMk/>
            <pc:sldMk cId="912018181" sldId="541"/>
            <ac:spMk id="55" creationId="{5145A94B-3112-4692-8CAE-95C5A584934D}"/>
          </ac:spMkLst>
        </pc:spChg>
        <pc:spChg chg="mod">
          <ac:chgData name="Lars Ivar" userId="da83bdda-499a-4427-8775-f375be339a54" providerId="ADAL" clId="{9A0F3B70-5B95-42C4-94C3-05567C69E257}" dt="2021-03-15T09:57:16.183" v="2731"/>
          <ac:spMkLst>
            <pc:docMk/>
            <pc:sldMk cId="912018181" sldId="541"/>
            <ac:spMk id="56" creationId="{41D1E527-EFF5-479F-AB91-1A0C027A1D17}"/>
          </ac:spMkLst>
        </pc:spChg>
        <pc:spChg chg="mod">
          <ac:chgData name="Lars Ivar" userId="da83bdda-499a-4427-8775-f375be339a54" providerId="ADAL" clId="{9A0F3B70-5B95-42C4-94C3-05567C69E257}" dt="2021-03-15T09:57:16.183" v="2731"/>
          <ac:spMkLst>
            <pc:docMk/>
            <pc:sldMk cId="912018181" sldId="541"/>
            <ac:spMk id="57" creationId="{E4307BDC-1FD6-415D-8B12-E30042E80492}"/>
          </ac:spMkLst>
        </pc:spChg>
        <pc:grpChg chg="del">
          <ac:chgData name="Lars Ivar" userId="da83bdda-499a-4427-8775-f375be339a54" providerId="ADAL" clId="{9A0F3B70-5B95-42C4-94C3-05567C69E257}" dt="2021-03-15T09:57:12.829" v="2730" actId="478"/>
          <ac:grpSpMkLst>
            <pc:docMk/>
            <pc:sldMk cId="912018181" sldId="541"/>
            <ac:grpSpMk id="2" creationId="{FB0E3E3F-4D6E-4365-B8D1-477E1C1440EC}"/>
          </ac:grpSpMkLst>
        </pc:grpChg>
        <pc:grpChg chg="add mod">
          <ac:chgData name="Lars Ivar" userId="da83bdda-499a-4427-8775-f375be339a54" providerId="ADAL" clId="{9A0F3B70-5B95-42C4-94C3-05567C69E257}" dt="2021-03-15T09:57:16.183" v="2731"/>
          <ac:grpSpMkLst>
            <pc:docMk/>
            <pc:sldMk cId="912018181" sldId="541"/>
            <ac:grpSpMk id="24" creationId="{BA74F1C0-9B3D-48D3-B763-089A05422E23}"/>
          </ac:grpSpMkLst>
        </pc:grpChg>
        <pc:grpChg chg="mod">
          <ac:chgData name="Lars Ivar" userId="da83bdda-499a-4427-8775-f375be339a54" providerId="ADAL" clId="{9A0F3B70-5B95-42C4-94C3-05567C69E257}" dt="2021-03-15T09:57:16.183" v="2731"/>
          <ac:grpSpMkLst>
            <pc:docMk/>
            <pc:sldMk cId="912018181" sldId="541"/>
            <ac:grpSpMk id="25" creationId="{806C6A1D-CDCF-4BAB-B7B4-C2CEF2D8CE2C}"/>
          </ac:grpSpMkLst>
        </pc:grpChg>
        <pc:grpChg chg="mod">
          <ac:chgData name="Lars Ivar" userId="da83bdda-499a-4427-8775-f375be339a54" providerId="ADAL" clId="{9A0F3B70-5B95-42C4-94C3-05567C69E257}" dt="2021-03-15T09:57:16.183" v="2731"/>
          <ac:grpSpMkLst>
            <pc:docMk/>
            <pc:sldMk cId="912018181" sldId="541"/>
            <ac:grpSpMk id="26" creationId="{7DF1104A-D4BC-424D-A590-DEB90FA681E3}"/>
          </ac:grpSpMkLst>
        </pc:grpChg>
        <pc:grpChg chg="mod">
          <ac:chgData name="Lars Ivar" userId="da83bdda-499a-4427-8775-f375be339a54" providerId="ADAL" clId="{9A0F3B70-5B95-42C4-94C3-05567C69E257}" dt="2021-03-15T09:57:16.183" v="2731"/>
          <ac:grpSpMkLst>
            <pc:docMk/>
            <pc:sldMk cId="912018181" sldId="541"/>
            <ac:grpSpMk id="27" creationId="{C9BB15C2-5E18-4D4F-98C2-A17B314929DD}"/>
          </ac:grpSpMkLst>
        </pc:grpChg>
        <pc:grpChg chg="mod">
          <ac:chgData name="Lars Ivar" userId="da83bdda-499a-4427-8775-f375be339a54" providerId="ADAL" clId="{9A0F3B70-5B95-42C4-94C3-05567C69E257}" dt="2021-03-15T09:57:16.183" v="2731"/>
          <ac:grpSpMkLst>
            <pc:docMk/>
            <pc:sldMk cId="912018181" sldId="541"/>
            <ac:grpSpMk id="28" creationId="{AF812480-66E9-4D9D-B75A-9095940EF7FD}"/>
          </ac:grpSpMkLst>
        </pc:grpChg>
        <pc:grpChg chg="mod">
          <ac:chgData name="Lars Ivar" userId="da83bdda-499a-4427-8775-f375be339a54" providerId="ADAL" clId="{9A0F3B70-5B95-42C4-94C3-05567C69E257}" dt="2021-03-15T09:57:16.183" v="2731"/>
          <ac:grpSpMkLst>
            <pc:docMk/>
            <pc:sldMk cId="912018181" sldId="541"/>
            <ac:grpSpMk id="29" creationId="{00078D15-C435-4BF8-9D2A-20064A0956E1}"/>
          </ac:grpSpMkLst>
        </pc:grpChg>
        <pc:picChg chg="mod">
          <ac:chgData name="Lars Ivar" userId="da83bdda-499a-4427-8775-f375be339a54" providerId="ADAL" clId="{9A0F3B70-5B95-42C4-94C3-05567C69E257}" dt="2021-03-18T15:08:03.492" v="8496" actId="14100"/>
          <ac:picMkLst>
            <pc:docMk/>
            <pc:sldMk cId="912018181" sldId="541"/>
            <ac:picMk id="4" creationId="{1A5FDDCB-4743-4E8B-B372-E20DFA767F88}"/>
          </ac:picMkLst>
        </pc:picChg>
      </pc:sldChg>
      <pc:sldChg chg="modSp mod modNotesTx">
        <pc:chgData name="Lars Ivar" userId="da83bdda-499a-4427-8775-f375be339a54" providerId="ADAL" clId="{9A0F3B70-5B95-42C4-94C3-05567C69E257}" dt="2021-03-18T16:47:17.406" v="9424" actId="20577"/>
        <pc:sldMkLst>
          <pc:docMk/>
          <pc:sldMk cId="4080406720" sldId="543"/>
        </pc:sldMkLst>
        <pc:spChg chg="mod">
          <ac:chgData name="Lars Ivar" userId="da83bdda-499a-4427-8775-f375be339a54" providerId="ADAL" clId="{9A0F3B70-5B95-42C4-94C3-05567C69E257}" dt="2021-03-18T15:19:32.997" v="8504" actId="403"/>
          <ac:spMkLst>
            <pc:docMk/>
            <pc:sldMk cId="4080406720" sldId="543"/>
            <ac:spMk id="7" creationId="{63991A79-2DF5-4987-8986-F8B6237BF2C9}"/>
          </ac:spMkLst>
        </pc:spChg>
        <pc:spChg chg="mod">
          <ac:chgData name="Lars Ivar" userId="da83bdda-499a-4427-8775-f375be339a54" providerId="ADAL" clId="{9A0F3B70-5B95-42C4-94C3-05567C69E257}" dt="2021-03-15T09:54:13.880" v="2702" actId="207"/>
          <ac:spMkLst>
            <pc:docMk/>
            <pc:sldMk cId="4080406720" sldId="543"/>
            <ac:spMk id="56" creationId="{CC510842-B0D8-495A-B9D5-A1D3D5562E9A}"/>
          </ac:spMkLst>
        </pc:spChg>
        <pc:spChg chg="mod">
          <ac:chgData name="Lars Ivar" userId="da83bdda-499a-4427-8775-f375be339a54" providerId="ADAL" clId="{9A0F3B70-5B95-42C4-94C3-05567C69E257}" dt="2021-03-15T09:54:18.433" v="2703" actId="207"/>
          <ac:spMkLst>
            <pc:docMk/>
            <pc:sldMk cId="4080406720" sldId="543"/>
            <ac:spMk id="57" creationId="{DBB1C421-01EC-4DB7-B13D-04693F1B16EA}"/>
          </ac:spMkLst>
        </pc:spChg>
        <pc:picChg chg="mod ord">
          <ac:chgData name="Lars Ivar" userId="da83bdda-499a-4427-8775-f375be339a54" providerId="ADAL" clId="{9A0F3B70-5B95-42C4-94C3-05567C69E257}" dt="2021-03-18T15:18:53.039" v="8498" actId="1076"/>
          <ac:picMkLst>
            <pc:docMk/>
            <pc:sldMk cId="4080406720" sldId="543"/>
            <ac:picMk id="3" creationId="{6244319C-90A0-472D-893F-E7376EBA741B}"/>
          </ac:picMkLst>
        </pc:picChg>
        <pc:cxnChg chg="mod ord">
          <ac:chgData name="Lars Ivar" userId="da83bdda-499a-4427-8775-f375be339a54" providerId="ADAL" clId="{9A0F3B70-5B95-42C4-94C3-05567C69E257}" dt="2021-03-18T15:18:58.763" v="8499" actId="167"/>
          <ac:cxnSpMkLst>
            <pc:docMk/>
            <pc:sldMk cId="4080406720" sldId="543"/>
            <ac:cxnSpMk id="43" creationId="{D619BC49-E4EF-4BC0-B474-609F75846915}"/>
          </ac:cxnSpMkLst>
        </pc:cxnChg>
      </pc:sldChg>
      <pc:sldChg chg="delSp modSp add mod">
        <pc:chgData name="Lars Ivar" userId="da83bdda-499a-4427-8775-f375be339a54" providerId="ADAL" clId="{9A0F3B70-5B95-42C4-94C3-05567C69E257}" dt="2021-03-15T10:40:22.903" v="3614" actId="478"/>
        <pc:sldMkLst>
          <pc:docMk/>
          <pc:sldMk cId="25832710" sldId="544"/>
        </pc:sldMkLst>
        <pc:spChg chg="mod">
          <ac:chgData name="Lars Ivar" userId="da83bdda-499a-4427-8775-f375be339a54" providerId="ADAL" clId="{9A0F3B70-5B95-42C4-94C3-05567C69E257}" dt="2021-03-15T10:40:19.238" v="3612" actId="6549"/>
          <ac:spMkLst>
            <pc:docMk/>
            <pc:sldMk cId="25832710" sldId="544"/>
            <ac:spMk id="56" creationId="{56018049-8304-485D-BC16-96C028377B90}"/>
          </ac:spMkLst>
        </pc:spChg>
        <pc:spChg chg="del">
          <ac:chgData name="Lars Ivar" userId="da83bdda-499a-4427-8775-f375be339a54" providerId="ADAL" clId="{9A0F3B70-5B95-42C4-94C3-05567C69E257}" dt="2021-03-15T10:40:22.119" v="3613" actId="478"/>
          <ac:spMkLst>
            <pc:docMk/>
            <pc:sldMk cId="25832710" sldId="544"/>
            <ac:spMk id="58" creationId="{FABA93D5-677D-424D-AF59-21DBEE2B0956}"/>
          </ac:spMkLst>
        </pc:spChg>
        <pc:grpChg chg="del">
          <ac:chgData name="Lars Ivar" userId="da83bdda-499a-4427-8775-f375be339a54" providerId="ADAL" clId="{9A0F3B70-5B95-42C4-94C3-05567C69E257}" dt="2021-03-15T10:40:22.903" v="3614" actId="478"/>
          <ac:grpSpMkLst>
            <pc:docMk/>
            <pc:sldMk cId="25832710" sldId="544"/>
            <ac:grpSpMk id="25" creationId="{8F8E1450-753C-47D4-A4F1-AEBAC549198F}"/>
          </ac:grpSpMkLst>
        </pc:grpChg>
        <pc:grpChg chg="del">
          <ac:chgData name="Lars Ivar" userId="da83bdda-499a-4427-8775-f375be339a54" providerId="ADAL" clId="{9A0F3B70-5B95-42C4-94C3-05567C69E257}" dt="2021-03-15T10:40:22.119" v="3613" actId="478"/>
          <ac:grpSpMkLst>
            <pc:docMk/>
            <pc:sldMk cId="25832710" sldId="544"/>
            <ac:grpSpMk id="26" creationId="{0BA0B647-2713-4C9F-9D1C-EE7087019D22}"/>
          </ac:grpSpMkLst>
        </pc:grpChg>
      </pc:sldChg>
      <pc:sldChg chg="modSp del mod">
        <pc:chgData name="Lars Ivar" userId="da83bdda-499a-4427-8775-f375be339a54" providerId="ADAL" clId="{9A0F3B70-5B95-42C4-94C3-05567C69E257}" dt="2021-03-15T10:40:10.654" v="3610" actId="2696"/>
        <pc:sldMkLst>
          <pc:docMk/>
          <pc:sldMk cId="2228147464" sldId="544"/>
        </pc:sldMkLst>
        <pc:spChg chg="mod">
          <ac:chgData name="Lars Ivar" userId="da83bdda-499a-4427-8775-f375be339a54" providerId="ADAL" clId="{9A0F3B70-5B95-42C4-94C3-05567C69E257}" dt="2021-03-15T09:53:19.534" v="2699" actId="790"/>
          <ac:spMkLst>
            <pc:docMk/>
            <pc:sldMk cId="2228147464" sldId="544"/>
            <ac:spMk id="7" creationId="{63991A79-2DF5-4987-8986-F8B6237BF2C9}"/>
          </ac:spMkLst>
        </pc:spChg>
        <pc:spChg chg="mod">
          <ac:chgData name="Lars Ivar" userId="da83bdda-499a-4427-8775-f375be339a54" providerId="ADAL" clId="{9A0F3B70-5B95-42C4-94C3-05567C69E257}" dt="2021-03-15T09:57:02.066" v="2728" actId="207"/>
          <ac:spMkLst>
            <pc:docMk/>
            <pc:sldMk cId="2228147464" sldId="544"/>
            <ac:spMk id="55" creationId="{E084A0A1-F307-4FD6-927F-0E3840B9E14A}"/>
          </ac:spMkLst>
        </pc:spChg>
        <pc:spChg chg="mod">
          <ac:chgData name="Lars Ivar" userId="da83bdda-499a-4427-8775-f375be339a54" providerId="ADAL" clId="{9A0F3B70-5B95-42C4-94C3-05567C69E257}" dt="2021-03-15T09:57:06.640" v="2729" actId="207"/>
          <ac:spMkLst>
            <pc:docMk/>
            <pc:sldMk cId="2228147464" sldId="544"/>
            <ac:spMk id="57" creationId="{FF71C18C-C1CC-40FF-8358-AD2E4E9CD7AC}"/>
          </ac:spMkLst>
        </pc:spChg>
        <pc:spChg chg="mod">
          <ac:chgData name="Lars Ivar" userId="da83bdda-499a-4427-8775-f375be339a54" providerId="ADAL" clId="{9A0F3B70-5B95-42C4-94C3-05567C69E257}" dt="2021-03-15T09:56:53.263" v="2726" actId="207"/>
          <ac:spMkLst>
            <pc:docMk/>
            <pc:sldMk cId="2228147464" sldId="544"/>
            <ac:spMk id="58" creationId="{FABA93D5-677D-424D-AF59-21DBEE2B0956}"/>
          </ac:spMkLst>
        </pc:spChg>
      </pc:sldChg>
      <pc:sldChg chg="new del">
        <pc:chgData name="Lars Ivar" userId="da83bdda-499a-4427-8775-f375be339a54" providerId="ADAL" clId="{9A0F3B70-5B95-42C4-94C3-05567C69E257}" dt="2021-03-15T07:54:38.997" v="991" actId="47"/>
        <pc:sldMkLst>
          <pc:docMk/>
          <pc:sldMk cId="719734957" sldId="545"/>
        </pc:sldMkLst>
      </pc:sldChg>
      <pc:sldChg chg="addSp delSp modSp add mod">
        <pc:chgData name="Lars Ivar" userId="da83bdda-499a-4427-8775-f375be339a54" providerId="ADAL" clId="{9A0F3B70-5B95-42C4-94C3-05567C69E257}" dt="2021-03-17T20:48:15.272" v="7543" actId="403"/>
        <pc:sldMkLst>
          <pc:docMk/>
          <pc:sldMk cId="1823700865" sldId="546"/>
        </pc:sldMkLst>
        <pc:spChg chg="mod">
          <ac:chgData name="Lars Ivar" userId="da83bdda-499a-4427-8775-f375be339a54" providerId="ADAL" clId="{9A0F3B70-5B95-42C4-94C3-05567C69E257}" dt="2021-03-17T20:48:15.272" v="7543" actId="403"/>
          <ac:spMkLst>
            <pc:docMk/>
            <pc:sldMk cId="1823700865" sldId="546"/>
            <ac:spMk id="26" creationId="{F7012B31-D035-4588-A480-DACDA83B843C}"/>
          </ac:spMkLst>
        </pc:spChg>
        <pc:spChg chg="mod">
          <ac:chgData name="Lars Ivar" userId="da83bdda-499a-4427-8775-f375be339a54" providerId="ADAL" clId="{9A0F3B70-5B95-42C4-94C3-05567C69E257}" dt="2021-03-15T08:40:02.256" v="1860" actId="20577"/>
          <ac:spMkLst>
            <pc:docMk/>
            <pc:sldMk cId="1823700865" sldId="546"/>
            <ac:spMk id="28" creationId="{48703A56-96F6-4216-B29F-75E1A68FEBED}"/>
          </ac:spMkLst>
        </pc:spChg>
        <pc:spChg chg="mod">
          <ac:chgData name="Lars Ivar" userId="da83bdda-499a-4427-8775-f375be339a54" providerId="ADAL" clId="{9A0F3B70-5B95-42C4-94C3-05567C69E257}" dt="2021-03-15T11:40:44.040" v="4510"/>
          <ac:spMkLst>
            <pc:docMk/>
            <pc:sldMk cId="1823700865" sldId="546"/>
            <ac:spMk id="36" creationId="{1723034A-2788-4975-A5B1-D7C54054678A}"/>
          </ac:spMkLst>
        </pc:spChg>
        <pc:spChg chg="mod">
          <ac:chgData name="Lars Ivar" userId="da83bdda-499a-4427-8775-f375be339a54" providerId="ADAL" clId="{9A0F3B70-5B95-42C4-94C3-05567C69E257}" dt="2021-03-15T11:40:44.040" v="4510"/>
          <ac:spMkLst>
            <pc:docMk/>
            <pc:sldMk cId="1823700865" sldId="546"/>
            <ac:spMk id="37" creationId="{48E90B92-280E-4947-B830-F993235D378C}"/>
          </ac:spMkLst>
        </pc:spChg>
        <pc:spChg chg="mod">
          <ac:chgData name="Lars Ivar" userId="da83bdda-499a-4427-8775-f375be339a54" providerId="ADAL" clId="{9A0F3B70-5B95-42C4-94C3-05567C69E257}" dt="2021-03-15T11:40:44.040" v="4510"/>
          <ac:spMkLst>
            <pc:docMk/>
            <pc:sldMk cId="1823700865" sldId="546"/>
            <ac:spMk id="38" creationId="{F967EA93-F691-47B8-BF4A-58EDDBCFAA60}"/>
          </ac:spMkLst>
        </pc:spChg>
        <pc:spChg chg="mod">
          <ac:chgData name="Lars Ivar" userId="da83bdda-499a-4427-8775-f375be339a54" providerId="ADAL" clId="{9A0F3B70-5B95-42C4-94C3-05567C69E257}" dt="2021-03-15T11:40:44.040" v="4510"/>
          <ac:spMkLst>
            <pc:docMk/>
            <pc:sldMk cId="1823700865" sldId="546"/>
            <ac:spMk id="39" creationId="{8FC054EB-921A-4357-A03E-EB55F57CCFF2}"/>
          </ac:spMkLst>
        </pc:spChg>
        <pc:spChg chg="mod">
          <ac:chgData name="Lars Ivar" userId="da83bdda-499a-4427-8775-f375be339a54" providerId="ADAL" clId="{9A0F3B70-5B95-42C4-94C3-05567C69E257}" dt="2021-03-15T11:40:44.040" v="4510"/>
          <ac:spMkLst>
            <pc:docMk/>
            <pc:sldMk cId="1823700865" sldId="546"/>
            <ac:spMk id="40" creationId="{1A54F0CF-8958-4CB8-AE9E-F2DC05763566}"/>
          </ac:spMkLst>
        </pc:spChg>
        <pc:spChg chg="mod">
          <ac:chgData name="Lars Ivar" userId="da83bdda-499a-4427-8775-f375be339a54" providerId="ADAL" clId="{9A0F3B70-5B95-42C4-94C3-05567C69E257}" dt="2021-03-15T11:40:44.040" v="4510"/>
          <ac:spMkLst>
            <pc:docMk/>
            <pc:sldMk cId="1823700865" sldId="546"/>
            <ac:spMk id="41" creationId="{84B7A49C-A634-4E3C-B89E-C077613E0064}"/>
          </ac:spMkLst>
        </pc:spChg>
        <pc:spChg chg="mod">
          <ac:chgData name="Lars Ivar" userId="da83bdda-499a-4427-8775-f375be339a54" providerId="ADAL" clId="{9A0F3B70-5B95-42C4-94C3-05567C69E257}" dt="2021-03-15T11:40:44.040" v="4510"/>
          <ac:spMkLst>
            <pc:docMk/>
            <pc:sldMk cId="1823700865" sldId="546"/>
            <ac:spMk id="42" creationId="{0E417E57-8B94-4FB6-83B3-972BD590FDDF}"/>
          </ac:spMkLst>
        </pc:spChg>
        <pc:spChg chg="mod">
          <ac:chgData name="Lars Ivar" userId="da83bdda-499a-4427-8775-f375be339a54" providerId="ADAL" clId="{9A0F3B70-5B95-42C4-94C3-05567C69E257}" dt="2021-03-15T11:40:44.040" v="4510"/>
          <ac:spMkLst>
            <pc:docMk/>
            <pc:sldMk cId="1823700865" sldId="546"/>
            <ac:spMk id="55" creationId="{4D37DDF1-94FE-426C-8229-A220AC5D91BA}"/>
          </ac:spMkLst>
        </pc:spChg>
        <pc:spChg chg="mod">
          <ac:chgData name="Lars Ivar" userId="da83bdda-499a-4427-8775-f375be339a54" providerId="ADAL" clId="{9A0F3B70-5B95-42C4-94C3-05567C69E257}" dt="2021-03-15T11:40:44.040" v="4510"/>
          <ac:spMkLst>
            <pc:docMk/>
            <pc:sldMk cId="1823700865" sldId="546"/>
            <ac:spMk id="56" creationId="{13B09BB1-29EA-4FBD-BDF4-7167EF4F4FCE}"/>
          </ac:spMkLst>
        </pc:spChg>
        <pc:spChg chg="mod">
          <ac:chgData name="Lars Ivar" userId="da83bdda-499a-4427-8775-f375be339a54" providerId="ADAL" clId="{9A0F3B70-5B95-42C4-94C3-05567C69E257}" dt="2021-03-15T11:40:44.040" v="4510"/>
          <ac:spMkLst>
            <pc:docMk/>
            <pc:sldMk cId="1823700865" sldId="546"/>
            <ac:spMk id="57" creationId="{DDD00938-82BE-4AC3-B6AB-480A06FE3368}"/>
          </ac:spMkLst>
        </pc:spChg>
        <pc:grpChg chg="del">
          <ac:chgData name="Lars Ivar" userId="da83bdda-499a-4427-8775-f375be339a54" providerId="ADAL" clId="{9A0F3B70-5B95-42C4-94C3-05567C69E257}" dt="2021-03-15T11:40:43.740" v="4509" actId="478"/>
          <ac:grpSpMkLst>
            <pc:docMk/>
            <pc:sldMk cId="1823700865" sldId="546"/>
            <ac:grpSpMk id="21" creationId="{A727E4BD-2657-4527-B659-119C955BF573}"/>
          </ac:grpSpMkLst>
        </pc:grpChg>
        <pc:grpChg chg="add mod">
          <ac:chgData name="Lars Ivar" userId="da83bdda-499a-4427-8775-f375be339a54" providerId="ADAL" clId="{9A0F3B70-5B95-42C4-94C3-05567C69E257}" dt="2021-03-15T11:40:44.040" v="4510"/>
          <ac:grpSpMkLst>
            <pc:docMk/>
            <pc:sldMk cId="1823700865" sldId="546"/>
            <ac:grpSpMk id="30" creationId="{C8576945-278F-4591-B071-3A242C7F2E87}"/>
          </ac:grpSpMkLst>
        </pc:grpChg>
        <pc:grpChg chg="mod">
          <ac:chgData name="Lars Ivar" userId="da83bdda-499a-4427-8775-f375be339a54" providerId="ADAL" clId="{9A0F3B70-5B95-42C4-94C3-05567C69E257}" dt="2021-03-15T11:40:44.040" v="4510"/>
          <ac:grpSpMkLst>
            <pc:docMk/>
            <pc:sldMk cId="1823700865" sldId="546"/>
            <ac:grpSpMk id="31" creationId="{227EAD75-715C-41D5-AE83-F866CC17CF40}"/>
          </ac:grpSpMkLst>
        </pc:grpChg>
        <pc:grpChg chg="mod">
          <ac:chgData name="Lars Ivar" userId="da83bdda-499a-4427-8775-f375be339a54" providerId="ADAL" clId="{9A0F3B70-5B95-42C4-94C3-05567C69E257}" dt="2021-03-15T11:40:44.040" v="4510"/>
          <ac:grpSpMkLst>
            <pc:docMk/>
            <pc:sldMk cId="1823700865" sldId="546"/>
            <ac:grpSpMk id="32" creationId="{EC69F3B5-FF97-48C2-A52F-6E70E2EFDBDA}"/>
          </ac:grpSpMkLst>
        </pc:grpChg>
        <pc:grpChg chg="mod">
          <ac:chgData name="Lars Ivar" userId="da83bdda-499a-4427-8775-f375be339a54" providerId="ADAL" clId="{9A0F3B70-5B95-42C4-94C3-05567C69E257}" dt="2021-03-15T11:40:44.040" v="4510"/>
          <ac:grpSpMkLst>
            <pc:docMk/>
            <pc:sldMk cId="1823700865" sldId="546"/>
            <ac:grpSpMk id="33" creationId="{AC3467A2-1420-4E3D-A7BC-0FCCB07BC4B3}"/>
          </ac:grpSpMkLst>
        </pc:grpChg>
        <pc:grpChg chg="mod">
          <ac:chgData name="Lars Ivar" userId="da83bdda-499a-4427-8775-f375be339a54" providerId="ADAL" clId="{9A0F3B70-5B95-42C4-94C3-05567C69E257}" dt="2021-03-15T11:40:44.040" v="4510"/>
          <ac:grpSpMkLst>
            <pc:docMk/>
            <pc:sldMk cId="1823700865" sldId="546"/>
            <ac:grpSpMk id="34" creationId="{5DA8AA08-B880-4E2A-AD1D-221251CF1FC5}"/>
          </ac:grpSpMkLst>
        </pc:grpChg>
        <pc:grpChg chg="mod">
          <ac:chgData name="Lars Ivar" userId="da83bdda-499a-4427-8775-f375be339a54" providerId="ADAL" clId="{9A0F3B70-5B95-42C4-94C3-05567C69E257}" dt="2021-03-15T11:40:44.040" v="4510"/>
          <ac:grpSpMkLst>
            <pc:docMk/>
            <pc:sldMk cId="1823700865" sldId="546"/>
            <ac:grpSpMk id="35" creationId="{4ACFAE77-567A-4698-AC03-DA9D4D9645B9}"/>
          </ac:grpSpMkLst>
        </pc:grpChg>
        <pc:picChg chg="add del mod">
          <ac:chgData name="Lars Ivar" userId="da83bdda-499a-4427-8775-f375be339a54" providerId="ADAL" clId="{9A0F3B70-5B95-42C4-94C3-05567C69E257}" dt="2021-03-15T08:54:58.491" v="2130" actId="478"/>
          <ac:picMkLst>
            <pc:docMk/>
            <pc:sldMk cId="1823700865" sldId="546"/>
            <ac:picMk id="3" creationId="{D1FCDEF4-8D48-4B6D-80DB-64E8823CAE86}"/>
          </ac:picMkLst>
        </pc:picChg>
        <pc:picChg chg="add del mod">
          <ac:chgData name="Lars Ivar" userId="da83bdda-499a-4427-8775-f375be339a54" providerId="ADAL" clId="{9A0F3B70-5B95-42C4-94C3-05567C69E257}" dt="2021-03-15T08:55:31.745" v="2137" actId="478"/>
          <ac:picMkLst>
            <pc:docMk/>
            <pc:sldMk cId="1823700865" sldId="546"/>
            <ac:picMk id="5" creationId="{E102F6DC-88BD-49FC-A3F3-F71473D5D144}"/>
          </ac:picMkLst>
        </pc:picChg>
        <pc:picChg chg="add mod">
          <ac:chgData name="Lars Ivar" userId="da83bdda-499a-4427-8775-f375be339a54" providerId="ADAL" clId="{9A0F3B70-5B95-42C4-94C3-05567C69E257}" dt="2021-03-15T08:55:39.896" v="2140" actId="1076"/>
          <ac:picMkLst>
            <pc:docMk/>
            <pc:sldMk cId="1823700865" sldId="546"/>
            <ac:picMk id="7" creationId="{7378BC64-2B2B-458E-A81F-D70C04A1460C}"/>
          </ac:picMkLst>
        </pc:picChg>
        <pc:picChg chg="add mod">
          <ac:chgData name="Lars Ivar" userId="da83bdda-499a-4427-8775-f375be339a54" providerId="ADAL" clId="{9A0F3B70-5B95-42C4-94C3-05567C69E257}" dt="2021-03-15T08:55:35.612" v="2139" actId="1076"/>
          <ac:picMkLst>
            <pc:docMk/>
            <pc:sldMk cId="1823700865" sldId="546"/>
            <ac:picMk id="9" creationId="{B3EDD8D0-CD8C-4660-996D-740858F6761F}"/>
          </ac:picMkLst>
        </pc:picChg>
      </pc:sldChg>
      <pc:sldChg chg="addSp delSp modSp add mod ord">
        <pc:chgData name="Lars Ivar" userId="da83bdda-499a-4427-8775-f375be339a54" providerId="ADAL" clId="{9A0F3B70-5B95-42C4-94C3-05567C69E257}" dt="2021-03-17T20:47:16.024" v="7537" actId="27636"/>
        <pc:sldMkLst>
          <pc:docMk/>
          <pc:sldMk cId="908349976" sldId="547"/>
        </pc:sldMkLst>
        <pc:spChg chg="mod">
          <ac:chgData name="Lars Ivar" userId="da83bdda-499a-4427-8775-f375be339a54" providerId="ADAL" clId="{9A0F3B70-5B95-42C4-94C3-05567C69E257}" dt="2021-03-17T20:47:16.024" v="7537" actId="27636"/>
          <ac:spMkLst>
            <pc:docMk/>
            <pc:sldMk cId="908349976" sldId="547"/>
            <ac:spMk id="7" creationId="{63991A79-2DF5-4987-8986-F8B6237BF2C9}"/>
          </ac:spMkLst>
        </pc:spChg>
        <pc:spChg chg="mod">
          <ac:chgData name="Lars Ivar" userId="da83bdda-499a-4427-8775-f375be339a54" providerId="ADAL" clId="{9A0F3B70-5B95-42C4-94C3-05567C69E257}" dt="2021-03-15T08:11:04.548" v="1381" actId="20577"/>
          <ac:spMkLst>
            <pc:docMk/>
            <pc:sldMk cId="908349976" sldId="547"/>
            <ac:spMk id="45" creationId="{ABE05CC7-87A9-4E18-AEA7-3CFE48FBF726}"/>
          </ac:spMkLst>
        </pc:spChg>
        <pc:spChg chg="mod">
          <ac:chgData name="Lars Ivar" userId="da83bdda-499a-4427-8775-f375be339a54" providerId="ADAL" clId="{9A0F3B70-5B95-42C4-94C3-05567C69E257}" dt="2021-03-15T11:40:31.758" v="4500"/>
          <ac:spMkLst>
            <pc:docMk/>
            <pc:sldMk cId="908349976" sldId="547"/>
            <ac:spMk id="47" creationId="{8A2EFB11-A9C0-4B18-91D0-08811EE172AC}"/>
          </ac:spMkLst>
        </pc:spChg>
        <pc:spChg chg="mod">
          <ac:chgData name="Lars Ivar" userId="da83bdda-499a-4427-8775-f375be339a54" providerId="ADAL" clId="{9A0F3B70-5B95-42C4-94C3-05567C69E257}" dt="2021-03-15T11:40:31.758" v="4500"/>
          <ac:spMkLst>
            <pc:docMk/>
            <pc:sldMk cId="908349976" sldId="547"/>
            <ac:spMk id="48" creationId="{3FAB274B-E82B-40C4-BE97-1CC4D142ADC7}"/>
          </ac:spMkLst>
        </pc:spChg>
        <pc:spChg chg="mod">
          <ac:chgData name="Lars Ivar" userId="da83bdda-499a-4427-8775-f375be339a54" providerId="ADAL" clId="{9A0F3B70-5B95-42C4-94C3-05567C69E257}" dt="2021-03-15T11:40:31.758" v="4500"/>
          <ac:spMkLst>
            <pc:docMk/>
            <pc:sldMk cId="908349976" sldId="547"/>
            <ac:spMk id="49" creationId="{471F88BE-95C7-433D-B30D-0F6D14C3E632}"/>
          </ac:spMkLst>
        </pc:spChg>
        <pc:spChg chg="mod">
          <ac:chgData name="Lars Ivar" userId="da83bdda-499a-4427-8775-f375be339a54" providerId="ADAL" clId="{9A0F3B70-5B95-42C4-94C3-05567C69E257}" dt="2021-03-15T11:40:31.758" v="4500"/>
          <ac:spMkLst>
            <pc:docMk/>
            <pc:sldMk cId="908349976" sldId="547"/>
            <ac:spMk id="50" creationId="{1A15158D-E1EF-47D3-ADF8-DB70253BF838}"/>
          </ac:spMkLst>
        </pc:spChg>
        <pc:spChg chg="mod">
          <ac:chgData name="Lars Ivar" userId="da83bdda-499a-4427-8775-f375be339a54" providerId="ADAL" clId="{9A0F3B70-5B95-42C4-94C3-05567C69E257}" dt="2021-03-15T11:40:31.758" v="4500"/>
          <ac:spMkLst>
            <pc:docMk/>
            <pc:sldMk cId="908349976" sldId="547"/>
            <ac:spMk id="51" creationId="{B253CF6F-6FE1-4681-BCD4-98353A6BDF20}"/>
          </ac:spMkLst>
        </pc:spChg>
        <pc:spChg chg="mod">
          <ac:chgData name="Lars Ivar" userId="da83bdda-499a-4427-8775-f375be339a54" providerId="ADAL" clId="{9A0F3B70-5B95-42C4-94C3-05567C69E257}" dt="2021-03-15T11:40:31.758" v="4500"/>
          <ac:spMkLst>
            <pc:docMk/>
            <pc:sldMk cId="908349976" sldId="547"/>
            <ac:spMk id="52" creationId="{EDBD22A0-8C4E-4566-89EE-BBD6A37BC2CA}"/>
          </ac:spMkLst>
        </pc:spChg>
        <pc:spChg chg="mod">
          <ac:chgData name="Lars Ivar" userId="da83bdda-499a-4427-8775-f375be339a54" providerId="ADAL" clId="{9A0F3B70-5B95-42C4-94C3-05567C69E257}" dt="2021-03-15T11:40:31.758" v="4500"/>
          <ac:spMkLst>
            <pc:docMk/>
            <pc:sldMk cId="908349976" sldId="547"/>
            <ac:spMk id="57" creationId="{BF40B3C1-9974-476C-86EE-B918E359DD2E}"/>
          </ac:spMkLst>
        </pc:spChg>
        <pc:spChg chg="mod">
          <ac:chgData name="Lars Ivar" userId="da83bdda-499a-4427-8775-f375be339a54" providerId="ADAL" clId="{9A0F3B70-5B95-42C4-94C3-05567C69E257}" dt="2021-03-15T11:40:31.758" v="4500"/>
          <ac:spMkLst>
            <pc:docMk/>
            <pc:sldMk cId="908349976" sldId="547"/>
            <ac:spMk id="58" creationId="{2119814B-8604-4DF2-A617-1AAE7121F5A2}"/>
          </ac:spMkLst>
        </pc:spChg>
        <pc:spChg chg="mod">
          <ac:chgData name="Lars Ivar" userId="da83bdda-499a-4427-8775-f375be339a54" providerId="ADAL" clId="{9A0F3B70-5B95-42C4-94C3-05567C69E257}" dt="2021-03-15T11:40:31.758" v="4500"/>
          <ac:spMkLst>
            <pc:docMk/>
            <pc:sldMk cId="908349976" sldId="547"/>
            <ac:spMk id="59" creationId="{D62C7B60-2734-4747-8C4B-6F138C8D8E3C}"/>
          </ac:spMkLst>
        </pc:spChg>
        <pc:spChg chg="mod">
          <ac:chgData name="Lars Ivar" userId="da83bdda-499a-4427-8775-f375be339a54" providerId="ADAL" clId="{9A0F3B70-5B95-42C4-94C3-05567C69E257}" dt="2021-03-15T11:40:31.758" v="4500"/>
          <ac:spMkLst>
            <pc:docMk/>
            <pc:sldMk cId="908349976" sldId="547"/>
            <ac:spMk id="60" creationId="{4198DF47-C54B-45E6-B85B-C6D9FD7B07F1}"/>
          </ac:spMkLst>
        </pc:spChg>
        <pc:grpChg chg="del">
          <ac:chgData name="Lars Ivar" userId="da83bdda-499a-4427-8775-f375be339a54" providerId="ADAL" clId="{9A0F3B70-5B95-42C4-94C3-05567C69E257}" dt="2021-03-15T11:40:31.414" v="4499" actId="478"/>
          <ac:grpSpMkLst>
            <pc:docMk/>
            <pc:sldMk cId="908349976" sldId="547"/>
            <ac:grpSpMk id="23" creationId="{803DCF99-F818-4576-8A35-D94CDD57B135}"/>
          </ac:grpSpMkLst>
        </pc:grpChg>
        <pc:grpChg chg="add mod">
          <ac:chgData name="Lars Ivar" userId="da83bdda-499a-4427-8775-f375be339a54" providerId="ADAL" clId="{9A0F3B70-5B95-42C4-94C3-05567C69E257}" dt="2021-03-15T11:40:31.758" v="4500"/>
          <ac:grpSpMkLst>
            <pc:docMk/>
            <pc:sldMk cId="908349976" sldId="547"/>
            <ac:grpSpMk id="37" creationId="{4AA3C658-F92F-4DA1-8ABB-25D48CA2553A}"/>
          </ac:grpSpMkLst>
        </pc:grpChg>
        <pc:grpChg chg="mod">
          <ac:chgData name="Lars Ivar" userId="da83bdda-499a-4427-8775-f375be339a54" providerId="ADAL" clId="{9A0F3B70-5B95-42C4-94C3-05567C69E257}" dt="2021-03-15T11:40:31.758" v="4500"/>
          <ac:grpSpMkLst>
            <pc:docMk/>
            <pc:sldMk cId="908349976" sldId="547"/>
            <ac:grpSpMk id="38" creationId="{37382334-ECD1-431A-8C61-990A975FB1D6}"/>
          </ac:grpSpMkLst>
        </pc:grpChg>
        <pc:grpChg chg="mod">
          <ac:chgData name="Lars Ivar" userId="da83bdda-499a-4427-8775-f375be339a54" providerId="ADAL" clId="{9A0F3B70-5B95-42C4-94C3-05567C69E257}" dt="2021-03-15T11:40:31.758" v="4500"/>
          <ac:grpSpMkLst>
            <pc:docMk/>
            <pc:sldMk cId="908349976" sldId="547"/>
            <ac:grpSpMk id="39" creationId="{3C0A96CD-12DB-4D73-ACA2-035C0C91F7A9}"/>
          </ac:grpSpMkLst>
        </pc:grpChg>
        <pc:grpChg chg="mod">
          <ac:chgData name="Lars Ivar" userId="da83bdda-499a-4427-8775-f375be339a54" providerId="ADAL" clId="{9A0F3B70-5B95-42C4-94C3-05567C69E257}" dt="2021-03-15T11:40:31.758" v="4500"/>
          <ac:grpSpMkLst>
            <pc:docMk/>
            <pc:sldMk cId="908349976" sldId="547"/>
            <ac:grpSpMk id="40" creationId="{284D286B-FC89-400C-A4D2-97DA05CE924B}"/>
          </ac:grpSpMkLst>
        </pc:grpChg>
        <pc:grpChg chg="mod">
          <ac:chgData name="Lars Ivar" userId="da83bdda-499a-4427-8775-f375be339a54" providerId="ADAL" clId="{9A0F3B70-5B95-42C4-94C3-05567C69E257}" dt="2021-03-15T11:40:31.758" v="4500"/>
          <ac:grpSpMkLst>
            <pc:docMk/>
            <pc:sldMk cId="908349976" sldId="547"/>
            <ac:grpSpMk id="41" creationId="{D234EBB4-048E-4E00-A7AA-1F31D6299C05}"/>
          </ac:grpSpMkLst>
        </pc:grpChg>
        <pc:grpChg chg="mod">
          <ac:chgData name="Lars Ivar" userId="da83bdda-499a-4427-8775-f375be339a54" providerId="ADAL" clId="{9A0F3B70-5B95-42C4-94C3-05567C69E257}" dt="2021-03-15T11:40:31.758" v="4500"/>
          <ac:grpSpMkLst>
            <pc:docMk/>
            <pc:sldMk cId="908349976" sldId="547"/>
            <ac:grpSpMk id="44" creationId="{12FCD403-CA27-4405-BCBD-DE9F57AEE82B}"/>
          </ac:grpSpMkLst>
        </pc:grpChg>
        <pc:picChg chg="add mod">
          <ac:chgData name="Lars Ivar" userId="da83bdda-499a-4427-8775-f375be339a54" providerId="ADAL" clId="{9A0F3B70-5B95-42C4-94C3-05567C69E257}" dt="2021-03-17T20:47:12.528" v="7535" actId="1076"/>
          <ac:picMkLst>
            <pc:docMk/>
            <pc:sldMk cId="908349976" sldId="547"/>
            <ac:picMk id="35" creationId="{07A365F3-57E2-4A4F-8964-2A5B23EB2586}"/>
          </ac:picMkLst>
        </pc:picChg>
        <pc:picChg chg="add mod">
          <ac:chgData name="Lars Ivar" userId="da83bdda-499a-4427-8775-f375be339a54" providerId="ADAL" clId="{9A0F3B70-5B95-42C4-94C3-05567C69E257}" dt="2021-03-17T20:47:11.023" v="7534" actId="1076"/>
          <ac:picMkLst>
            <pc:docMk/>
            <pc:sldMk cId="908349976" sldId="547"/>
            <ac:picMk id="36" creationId="{34B61731-EF9D-46AA-8678-BDB1ABE5A806}"/>
          </ac:picMkLst>
        </pc:picChg>
      </pc:sldChg>
      <pc:sldChg chg="new del">
        <pc:chgData name="Lars Ivar" userId="da83bdda-499a-4427-8775-f375be339a54" providerId="ADAL" clId="{9A0F3B70-5B95-42C4-94C3-05567C69E257}" dt="2021-03-15T08:10:37.795" v="1337" actId="47"/>
        <pc:sldMkLst>
          <pc:docMk/>
          <pc:sldMk cId="3714623798" sldId="547"/>
        </pc:sldMkLst>
      </pc:sldChg>
      <pc:sldChg chg="addSp delSp modSp new">
        <pc:chgData name="Lars Ivar" userId="da83bdda-499a-4427-8775-f375be339a54" providerId="ADAL" clId="{9A0F3B70-5B95-42C4-94C3-05567C69E257}" dt="2021-03-15T08:43:19.528" v="2074"/>
        <pc:sldMkLst>
          <pc:docMk/>
          <pc:sldMk cId="4285001700" sldId="548"/>
        </pc:sldMkLst>
        <pc:spChg chg="add del">
          <ac:chgData name="Lars Ivar" userId="da83bdda-499a-4427-8775-f375be339a54" providerId="ADAL" clId="{9A0F3B70-5B95-42C4-94C3-05567C69E257}" dt="2021-03-15T08:43:19.528" v="2074"/>
          <ac:spMkLst>
            <pc:docMk/>
            <pc:sldMk cId="4285001700" sldId="548"/>
            <ac:spMk id="3" creationId="{74A3F608-24A8-4DBD-8866-B40598C3F5E7}"/>
          </ac:spMkLst>
        </pc:spChg>
        <pc:spChg chg="add del mod">
          <ac:chgData name="Lars Ivar" userId="da83bdda-499a-4427-8775-f375be339a54" providerId="ADAL" clId="{9A0F3B70-5B95-42C4-94C3-05567C69E257}" dt="2021-03-15T08:43:19.429" v="2073"/>
          <ac:spMkLst>
            <pc:docMk/>
            <pc:sldMk cId="4285001700" sldId="548"/>
            <ac:spMk id="4" creationId="{95129230-F938-48D4-AD9A-D8FE193A9601}"/>
          </ac:spMkLst>
        </pc:spChg>
        <pc:picChg chg="add mod">
          <ac:chgData name="Lars Ivar" userId="da83bdda-499a-4427-8775-f375be339a54" providerId="ADAL" clId="{9A0F3B70-5B95-42C4-94C3-05567C69E257}" dt="2021-03-15T08:43:19.528" v="2074"/>
          <ac:picMkLst>
            <pc:docMk/>
            <pc:sldMk cId="4285001700" sldId="548"/>
            <ac:picMk id="5" creationId="{9B3C03BB-0305-4488-8C06-5FBA3ADF01EE}"/>
          </ac:picMkLst>
        </pc:picChg>
      </pc:sldChg>
      <pc:sldChg chg="addSp delSp modSp new">
        <pc:chgData name="Lars Ivar" userId="da83bdda-499a-4427-8775-f375be339a54" providerId="ADAL" clId="{9A0F3B70-5B95-42C4-94C3-05567C69E257}" dt="2021-03-15T08:43:46.681" v="2078"/>
        <pc:sldMkLst>
          <pc:docMk/>
          <pc:sldMk cId="3627555917" sldId="549"/>
        </pc:sldMkLst>
        <pc:spChg chg="add del">
          <ac:chgData name="Lars Ivar" userId="da83bdda-499a-4427-8775-f375be339a54" providerId="ADAL" clId="{9A0F3B70-5B95-42C4-94C3-05567C69E257}" dt="2021-03-15T08:43:46.681" v="2078"/>
          <ac:spMkLst>
            <pc:docMk/>
            <pc:sldMk cId="3627555917" sldId="549"/>
            <ac:spMk id="3" creationId="{948C0D17-1ADD-461E-A012-DBBCF00C4ABB}"/>
          </ac:spMkLst>
        </pc:spChg>
        <pc:spChg chg="add del mod">
          <ac:chgData name="Lars Ivar" userId="da83bdda-499a-4427-8775-f375be339a54" providerId="ADAL" clId="{9A0F3B70-5B95-42C4-94C3-05567C69E257}" dt="2021-03-15T08:43:46.628" v="2077"/>
          <ac:spMkLst>
            <pc:docMk/>
            <pc:sldMk cId="3627555917" sldId="549"/>
            <ac:spMk id="4" creationId="{02A80195-97F0-402F-B1FC-9A90EC041A6D}"/>
          </ac:spMkLst>
        </pc:spChg>
        <pc:picChg chg="add mod">
          <ac:chgData name="Lars Ivar" userId="da83bdda-499a-4427-8775-f375be339a54" providerId="ADAL" clId="{9A0F3B70-5B95-42C4-94C3-05567C69E257}" dt="2021-03-15T08:43:46.681" v="2078"/>
          <ac:picMkLst>
            <pc:docMk/>
            <pc:sldMk cId="3627555917" sldId="549"/>
            <ac:picMk id="5" creationId="{31DDEC1D-2B1F-417C-864D-0AC4094770DF}"/>
          </ac:picMkLst>
        </pc:picChg>
      </pc:sldChg>
      <pc:sldChg chg="new del">
        <pc:chgData name="Lars Ivar" userId="da83bdda-499a-4427-8775-f375be339a54" providerId="ADAL" clId="{9A0F3B70-5B95-42C4-94C3-05567C69E257}" dt="2021-03-15T08:52:34.935" v="2116" actId="47"/>
        <pc:sldMkLst>
          <pc:docMk/>
          <pc:sldMk cId="2518676065" sldId="550"/>
        </pc:sldMkLst>
      </pc:sldChg>
      <pc:sldChg chg="addSp delSp modSp add mod modNotesTx">
        <pc:chgData name="Lars Ivar" userId="da83bdda-499a-4427-8775-f375be339a54" providerId="ADAL" clId="{9A0F3B70-5B95-42C4-94C3-05567C69E257}" dt="2021-03-17T20:26:14.173" v="6960" actId="1076"/>
        <pc:sldMkLst>
          <pc:docMk/>
          <pc:sldMk cId="2184517477" sldId="551"/>
        </pc:sldMkLst>
        <pc:spChg chg="del">
          <ac:chgData name="Lars Ivar" userId="da83bdda-499a-4427-8775-f375be339a54" providerId="ADAL" clId="{9A0F3B70-5B95-42C4-94C3-05567C69E257}" dt="2021-03-15T08:52:43.917" v="2117" actId="478"/>
          <ac:spMkLst>
            <pc:docMk/>
            <pc:sldMk cId="2184517477" sldId="551"/>
            <ac:spMk id="2" creationId="{21AE8073-7262-4243-B21B-87E090929B1A}"/>
          </ac:spMkLst>
        </pc:spChg>
        <pc:spChg chg="mod">
          <ac:chgData name="Lars Ivar" userId="da83bdda-499a-4427-8775-f375be339a54" providerId="ADAL" clId="{9A0F3B70-5B95-42C4-94C3-05567C69E257}" dt="2021-03-15T11:41:38.892" v="4536"/>
          <ac:spMkLst>
            <pc:docMk/>
            <pc:sldMk cId="2184517477" sldId="551"/>
            <ac:spMk id="36" creationId="{65BE91C0-D486-4F7C-B95C-382EB8A56145}"/>
          </ac:spMkLst>
        </pc:spChg>
        <pc:spChg chg="mod">
          <ac:chgData name="Lars Ivar" userId="da83bdda-499a-4427-8775-f375be339a54" providerId="ADAL" clId="{9A0F3B70-5B95-42C4-94C3-05567C69E257}" dt="2021-03-15T11:41:38.892" v="4536"/>
          <ac:spMkLst>
            <pc:docMk/>
            <pc:sldMk cId="2184517477" sldId="551"/>
            <ac:spMk id="37" creationId="{1D584DF9-BAAB-4C89-8552-21D738235744}"/>
          </ac:spMkLst>
        </pc:spChg>
        <pc:spChg chg="mod">
          <ac:chgData name="Lars Ivar" userId="da83bdda-499a-4427-8775-f375be339a54" providerId="ADAL" clId="{9A0F3B70-5B95-42C4-94C3-05567C69E257}" dt="2021-03-15T11:41:38.892" v="4536"/>
          <ac:spMkLst>
            <pc:docMk/>
            <pc:sldMk cId="2184517477" sldId="551"/>
            <ac:spMk id="38" creationId="{91E352AE-1279-4E18-8295-CA988AAD66B6}"/>
          </ac:spMkLst>
        </pc:spChg>
        <pc:spChg chg="mod">
          <ac:chgData name="Lars Ivar" userId="da83bdda-499a-4427-8775-f375be339a54" providerId="ADAL" clId="{9A0F3B70-5B95-42C4-94C3-05567C69E257}" dt="2021-03-15T11:41:38.892" v="4536"/>
          <ac:spMkLst>
            <pc:docMk/>
            <pc:sldMk cId="2184517477" sldId="551"/>
            <ac:spMk id="39" creationId="{FCD307F8-6013-4E7E-9FEF-5BCEB64005BA}"/>
          </ac:spMkLst>
        </pc:spChg>
        <pc:spChg chg="mod">
          <ac:chgData name="Lars Ivar" userId="da83bdda-499a-4427-8775-f375be339a54" providerId="ADAL" clId="{9A0F3B70-5B95-42C4-94C3-05567C69E257}" dt="2021-03-15T11:41:38.892" v="4536"/>
          <ac:spMkLst>
            <pc:docMk/>
            <pc:sldMk cId="2184517477" sldId="551"/>
            <ac:spMk id="40" creationId="{7D1085A5-3B25-433E-BB02-EF79EF7B1BFE}"/>
          </ac:spMkLst>
        </pc:spChg>
        <pc:spChg chg="mod">
          <ac:chgData name="Lars Ivar" userId="da83bdda-499a-4427-8775-f375be339a54" providerId="ADAL" clId="{9A0F3B70-5B95-42C4-94C3-05567C69E257}" dt="2021-03-15T11:41:38.892" v="4536"/>
          <ac:spMkLst>
            <pc:docMk/>
            <pc:sldMk cId="2184517477" sldId="551"/>
            <ac:spMk id="41" creationId="{0BCC404E-3428-4D4F-9599-A9394790FB59}"/>
          </ac:spMkLst>
        </pc:spChg>
        <pc:spChg chg="mod">
          <ac:chgData name="Lars Ivar" userId="da83bdda-499a-4427-8775-f375be339a54" providerId="ADAL" clId="{9A0F3B70-5B95-42C4-94C3-05567C69E257}" dt="2021-03-15T11:41:38.892" v="4536"/>
          <ac:spMkLst>
            <pc:docMk/>
            <pc:sldMk cId="2184517477" sldId="551"/>
            <ac:spMk id="42" creationId="{D6756F53-2E12-4EE6-A2A4-0018AA2C94E6}"/>
          </ac:spMkLst>
        </pc:spChg>
        <pc:spChg chg="mod">
          <ac:chgData name="Lars Ivar" userId="da83bdda-499a-4427-8775-f375be339a54" providerId="ADAL" clId="{9A0F3B70-5B95-42C4-94C3-05567C69E257}" dt="2021-03-15T11:41:38.892" v="4536"/>
          <ac:spMkLst>
            <pc:docMk/>
            <pc:sldMk cId="2184517477" sldId="551"/>
            <ac:spMk id="59" creationId="{EEEBB12E-3673-48B1-A865-66E1B25A4BFC}"/>
          </ac:spMkLst>
        </pc:spChg>
        <pc:spChg chg="mod">
          <ac:chgData name="Lars Ivar" userId="da83bdda-499a-4427-8775-f375be339a54" providerId="ADAL" clId="{9A0F3B70-5B95-42C4-94C3-05567C69E257}" dt="2021-03-15T11:41:38.892" v="4536"/>
          <ac:spMkLst>
            <pc:docMk/>
            <pc:sldMk cId="2184517477" sldId="551"/>
            <ac:spMk id="60" creationId="{9F17E704-B077-4A86-993C-CBCCA4FBB492}"/>
          </ac:spMkLst>
        </pc:spChg>
        <pc:spChg chg="mod">
          <ac:chgData name="Lars Ivar" userId="da83bdda-499a-4427-8775-f375be339a54" providerId="ADAL" clId="{9A0F3B70-5B95-42C4-94C3-05567C69E257}" dt="2021-03-15T11:41:38.892" v="4536"/>
          <ac:spMkLst>
            <pc:docMk/>
            <pc:sldMk cId="2184517477" sldId="551"/>
            <ac:spMk id="61" creationId="{75819995-360E-4D45-A4E9-A99373FAD91D}"/>
          </ac:spMkLst>
        </pc:spChg>
        <pc:grpChg chg="add mod">
          <ac:chgData name="Lars Ivar" userId="da83bdda-499a-4427-8775-f375be339a54" providerId="ADAL" clId="{9A0F3B70-5B95-42C4-94C3-05567C69E257}" dt="2021-03-15T11:41:38.892" v="4536"/>
          <ac:grpSpMkLst>
            <pc:docMk/>
            <pc:sldMk cId="2184517477" sldId="551"/>
            <ac:grpSpMk id="30" creationId="{CDF093EC-523E-4D47-929A-6F09EB415FA3}"/>
          </ac:grpSpMkLst>
        </pc:grpChg>
        <pc:grpChg chg="mod">
          <ac:chgData name="Lars Ivar" userId="da83bdda-499a-4427-8775-f375be339a54" providerId="ADAL" clId="{9A0F3B70-5B95-42C4-94C3-05567C69E257}" dt="2021-03-15T11:41:38.892" v="4536"/>
          <ac:grpSpMkLst>
            <pc:docMk/>
            <pc:sldMk cId="2184517477" sldId="551"/>
            <ac:grpSpMk id="31" creationId="{31A7720C-AB33-4872-81E1-FA5F4AF68EDA}"/>
          </ac:grpSpMkLst>
        </pc:grpChg>
        <pc:grpChg chg="mod">
          <ac:chgData name="Lars Ivar" userId="da83bdda-499a-4427-8775-f375be339a54" providerId="ADAL" clId="{9A0F3B70-5B95-42C4-94C3-05567C69E257}" dt="2021-03-15T11:41:38.892" v="4536"/>
          <ac:grpSpMkLst>
            <pc:docMk/>
            <pc:sldMk cId="2184517477" sldId="551"/>
            <ac:grpSpMk id="32" creationId="{B38E5749-BED7-4BC9-9E97-1E2986957A17}"/>
          </ac:grpSpMkLst>
        </pc:grpChg>
        <pc:grpChg chg="mod">
          <ac:chgData name="Lars Ivar" userId="da83bdda-499a-4427-8775-f375be339a54" providerId="ADAL" clId="{9A0F3B70-5B95-42C4-94C3-05567C69E257}" dt="2021-03-15T11:41:38.892" v="4536"/>
          <ac:grpSpMkLst>
            <pc:docMk/>
            <pc:sldMk cId="2184517477" sldId="551"/>
            <ac:grpSpMk id="33" creationId="{CCE0B435-C04C-4C66-AD39-3C13C4543783}"/>
          </ac:grpSpMkLst>
        </pc:grpChg>
        <pc:grpChg chg="mod">
          <ac:chgData name="Lars Ivar" userId="da83bdda-499a-4427-8775-f375be339a54" providerId="ADAL" clId="{9A0F3B70-5B95-42C4-94C3-05567C69E257}" dt="2021-03-15T11:41:38.892" v="4536"/>
          <ac:grpSpMkLst>
            <pc:docMk/>
            <pc:sldMk cId="2184517477" sldId="551"/>
            <ac:grpSpMk id="34" creationId="{72AD8589-17F4-4CB3-BB94-8245F8C9F52D}"/>
          </ac:grpSpMkLst>
        </pc:grpChg>
        <pc:grpChg chg="mod">
          <ac:chgData name="Lars Ivar" userId="da83bdda-499a-4427-8775-f375be339a54" providerId="ADAL" clId="{9A0F3B70-5B95-42C4-94C3-05567C69E257}" dt="2021-03-15T11:41:38.892" v="4536"/>
          <ac:grpSpMkLst>
            <pc:docMk/>
            <pc:sldMk cId="2184517477" sldId="551"/>
            <ac:grpSpMk id="35" creationId="{5B29C029-4C04-4FD5-9D4F-ADE62CA228FA}"/>
          </ac:grpSpMkLst>
        </pc:grpChg>
        <pc:grpChg chg="del">
          <ac:chgData name="Lars Ivar" userId="da83bdda-499a-4427-8775-f375be339a54" providerId="ADAL" clId="{9A0F3B70-5B95-42C4-94C3-05567C69E257}" dt="2021-03-15T11:41:38.607" v="4535" actId="478"/>
          <ac:grpSpMkLst>
            <pc:docMk/>
            <pc:sldMk cId="2184517477" sldId="551"/>
            <ac:grpSpMk id="43" creationId="{C85D4D22-27AB-4793-9836-E585988D06AC}"/>
          </ac:grpSpMkLst>
        </pc:grpChg>
        <pc:picChg chg="del">
          <ac:chgData name="Lars Ivar" userId="da83bdda-499a-4427-8775-f375be339a54" providerId="ADAL" clId="{9A0F3B70-5B95-42C4-94C3-05567C69E257}" dt="2021-03-15T08:52:44.817" v="2119" actId="478"/>
          <ac:picMkLst>
            <pc:docMk/>
            <pc:sldMk cId="2184517477" sldId="551"/>
            <ac:picMk id="3" creationId="{46F3DFF6-63C9-403B-97E3-A819D5EA2BB6}"/>
          </ac:picMkLst>
        </pc:picChg>
        <pc:picChg chg="del">
          <ac:chgData name="Lars Ivar" userId="da83bdda-499a-4427-8775-f375be339a54" providerId="ADAL" clId="{9A0F3B70-5B95-42C4-94C3-05567C69E257}" dt="2021-03-15T08:52:44.384" v="2118" actId="478"/>
          <ac:picMkLst>
            <pc:docMk/>
            <pc:sldMk cId="2184517477" sldId="551"/>
            <ac:picMk id="4" creationId="{5024AB13-4894-44D5-9309-0480C8594EE0}"/>
          </ac:picMkLst>
        </pc:picChg>
        <pc:picChg chg="del">
          <ac:chgData name="Lars Ivar" userId="da83bdda-499a-4427-8775-f375be339a54" providerId="ADAL" clId="{9A0F3B70-5B95-42C4-94C3-05567C69E257}" dt="2021-03-15T08:52:45.210" v="2120" actId="478"/>
          <ac:picMkLst>
            <pc:docMk/>
            <pc:sldMk cId="2184517477" sldId="551"/>
            <ac:picMk id="6" creationId="{A14CD208-F810-4608-ABA7-29B6699CE8E7}"/>
          </ac:picMkLst>
        </pc:picChg>
        <pc:picChg chg="del">
          <ac:chgData name="Lars Ivar" userId="da83bdda-499a-4427-8775-f375be339a54" providerId="ADAL" clId="{9A0F3B70-5B95-42C4-94C3-05567C69E257}" dt="2021-03-15T08:52:45.665" v="2121" actId="478"/>
          <ac:picMkLst>
            <pc:docMk/>
            <pc:sldMk cId="2184517477" sldId="551"/>
            <ac:picMk id="7" creationId="{8DF003E8-D13B-42C4-B9DE-218A98605714}"/>
          </ac:picMkLst>
        </pc:picChg>
        <pc:picChg chg="add mod">
          <ac:chgData name="Lars Ivar" userId="da83bdda-499a-4427-8775-f375be339a54" providerId="ADAL" clId="{9A0F3B70-5B95-42C4-94C3-05567C69E257}" dt="2021-03-17T20:26:14.173" v="6960" actId="1076"/>
          <ac:picMkLst>
            <pc:docMk/>
            <pc:sldMk cId="2184517477" sldId="551"/>
            <ac:picMk id="29" creationId="{D2BADE79-9B5E-4E14-8F5B-CEBA9AE8DC1F}"/>
          </ac:picMkLst>
        </pc:picChg>
      </pc:sldChg>
      <pc:sldChg chg="addSp delSp modSp new mod">
        <pc:chgData name="Lars Ivar" userId="da83bdda-499a-4427-8775-f375be339a54" providerId="ADAL" clId="{9A0F3B70-5B95-42C4-94C3-05567C69E257}" dt="2021-03-15T08:56:45.754" v="2144" actId="1076"/>
        <pc:sldMkLst>
          <pc:docMk/>
          <pc:sldMk cId="3537415246" sldId="552"/>
        </pc:sldMkLst>
        <pc:spChg chg="del">
          <ac:chgData name="Lars Ivar" userId="da83bdda-499a-4427-8775-f375be339a54" providerId="ADAL" clId="{9A0F3B70-5B95-42C4-94C3-05567C69E257}" dt="2021-03-15T08:56:35.663" v="2142" actId="22"/>
          <ac:spMkLst>
            <pc:docMk/>
            <pc:sldMk cId="3537415246" sldId="552"/>
            <ac:spMk id="3" creationId="{B8B3B054-AAF5-4588-B56F-89D29F824A68}"/>
          </ac:spMkLst>
        </pc:spChg>
        <pc:picChg chg="add mod ord">
          <ac:chgData name="Lars Ivar" userId="da83bdda-499a-4427-8775-f375be339a54" providerId="ADAL" clId="{9A0F3B70-5B95-42C4-94C3-05567C69E257}" dt="2021-03-15T08:56:45.754" v="2144" actId="1076"/>
          <ac:picMkLst>
            <pc:docMk/>
            <pc:sldMk cId="3537415246" sldId="552"/>
            <ac:picMk id="5" creationId="{EC694EDD-D2D3-4882-AE26-A24BB4F5E851}"/>
          </ac:picMkLst>
        </pc:picChg>
      </pc:sldChg>
      <pc:sldChg chg="modSp add mod">
        <pc:chgData name="Lars Ivar" userId="da83bdda-499a-4427-8775-f375be339a54" providerId="ADAL" clId="{9A0F3B70-5B95-42C4-94C3-05567C69E257}" dt="2021-03-15T12:03:10.177" v="5977" actId="113"/>
        <pc:sldMkLst>
          <pc:docMk/>
          <pc:sldMk cId="1714680153" sldId="553"/>
        </pc:sldMkLst>
        <pc:spChg chg="mod">
          <ac:chgData name="Lars Ivar" userId="da83bdda-499a-4427-8775-f375be339a54" providerId="ADAL" clId="{9A0F3B70-5B95-42C4-94C3-05567C69E257}" dt="2021-03-15T12:03:05.917" v="5975" actId="113"/>
          <ac:spMkLst>
            <pc:docMk/>
            <pc:sldMk cId="1714680153" sldId="553"/>
            <ac:spMk id="5" creationId="{576249E6-FCC1-4611-8A08-3DFA173A9B38}"/>
          </ac:spMkLst>
        </pc:spChg>
        <pc:spChg chg="mod">
          <ac:chgData name="Lars Ivar" userId="da83bdda-499a-4427-8775-f375be339a54" providerId="ADAL" clId="{9A0F3B70-5B95-42C4-94C3-05567C69E257}" dt="2021-03-15T12:03:07.952" v="5976" actId="113"/>
          <ac:spMkLst>
            <pc:docMk/>
            <pc:sldMk cId="1714680153" sldId="553"/>
            <ac:spMk id="27" creationId="{BE99AE81-1325-46E4-8A50-0C5604E92AD1}"/>
          </ac:spMkLst>
        </pc:spChg>
        <pc:spChg chg="mod">
          <ac:chgData name="Lars Ivar" userId="da83bdda-499a-4427-8775-f375be339a54" providerId="ADAL" clId="{9A0F3B70-5B95-42C4-94C3-05567C69E257}" dt="2021-03-15T12:03:03.782" v="5974" actId="113"/>
          <ac:spMkLst>
            <pc:docMk/>
            <pc:sldMk cId="1714680153" sldId="553"/>
            <ac:spMk id="29" creationId="{DE795856-299F-406F-8AAC-C77F5C21E708}"/>
          </ac:spMkLst>
        </pc:spChg>
        <pc:spChg chg="mod">
          <ac:chgData name="Lars Ivar" userId="da83bdda-499a-4427-8775-f375be339a54" providerId="ADAL" clId="{9A0F3B70-5B95-42C4-94C3-05567C69E257}" dt="2021-03-15T12:03:10.177" v="5977" actId="113"/>
          <ac:spMkLst>
            <pc:docMk/>
            <pc:sldMk cId="1714680153" sldId="553"/>
            <ac:spMk id="31" creationId="{B03F4627-69B5-4096-B8EE-C6AA06759AB5}"/>
          </ac:spMkLst>
        </pc:spChg>
      </pc:sldChg>
      <pc:sldChg chg="new del">
        <pc:chgData name="Lars Ivar" userId="da83bdda-499a-4427-8775-f375be339a54" providerId="ADAL" clId="{9A0F3B70-5B95-42C4-94C3-05567C69E257}" dt="2021-03-15T12:14:41.915" v="6270" actId="47"/>
        <pc:sldMkLst>
          <pc:docMk/>
          <pc:sldMk cId="2482074008" sldId="554"/>
        </pc:sldMkLst>
      </pc:sldChg>
      <pc:sldChg chg="addSp delSp modSp add mod">
        <pc:chgData name="Lars Ivar" userId="da83bdda-499a-4427-8775-f375be339a54" providerId="ADAL" clId="{9A0F3B70-5B95-42C4-94C3-05567C69E257}" dt="2021-03-17T20:27:39.813" v="6974" actId="14100"/>
        <pc:sldMkLst>
          <pc:docMk/>
          <pc:sldMk cId="2486047606" sldId="554"/>
        </pc:sldMkLst>
        <pc:spChg chg="add del mod">
          <ac:chgData name="Lars Ivar" userId="da83bdda-499a-4427-8775-f375be339a54" providerId="ADAL" clId="{9A0F3B70-5B95-42C4-94C3-05567C69E257}" dt="2021-03-15T12:54:41.803" v="6523" actId="478"/>
          <ac:spMkLst>
            <pc:docMk/>
            <pc:sldMk cId="2486047606" sldId="554"/>
            <ac:spMk id="6" creationId="{BF8D5560-D1F8-428F-B4CB-07B477EF791D}"/>
          </ac:spMkLst>
        </pc:spChg>
        <pc:spChg chg="add mod">
          <ac:chgData name="Lars Ivar" userId="da83bdda-499a-4427-8775-f375be339a54" providerId="ADAL" clId="{9A0F3B70-5B95-42C4-94C3-05567C69E257}" dt="2021-03-15T12:55:37.818" v="6562" actId="1076"/>
          <ac:spMkLst>
            <pc:docMk/>
            <pc:sldMk cId="2486047606" sldId="554"/>
            <ac:spMk id="18" creationId="{8FFD8F07-AB37-41F1-A809-562BC7963877}"/>
          </ac:spMkLst>
        </pc:spChg>
        <pc:spChg chg="del">
          <ac:chgData name="Lars Ivar" userId="da83bdda-499a-4427-8775-f375be339a54" providerId="ADAL" clId="{9A0F3B70-5B95-42C4-94C3-05567C69E257}" dt="2021-03-15T12:15:04.050" v="6273" actId="478"/>
          <ac:spMkLst>
            <pc:docMk/>
            <pc:sldMk cId="2486047606" sldId="554"/>
            <ac:spMk id="26" creationId="{F7012B31-D035-4588-A480-DACDA83B843C}"/>
          </ac:spMkLst>
        </pc:spChg>
        <pc:picChg chg="add mod">
          <ac:chgData name="Lars Ivar" userId="da83bdda-499a-4427-8775-f375be339a54" providerId="ADAL" clId="{9A0F3B70-5B95-42C4-94C3-05567C69E257}" dt="2021-03-17T20:27:39.813" v="6974" actId="14100"/>
          <ac:picMkLst>
            <pc:docMk/>
            <pc:sldMk cId="2486047606" sldId="554"/>
            <ac:picMk id="3" creationId="{F42A2060-1335-444D-8DD7-C4D4E2DEF887}"/>
          </ac:picMkLst>
        </pc:picChg>
        <pc:picChg chg="add mod">
          <ac:chgData name="Lars Ivar" userId="da83bdda-499a-4427-8775-f375be339a54" providerId="ADAL" clId="{9A0F3B70-5B95-42C4-94C3-05567C69E257}" dt="2021-03-15T12:54:19.558" v="6520" actId="1076"/>
          <ac:picMkLst>
            <pc:docMk/>
            <pc:sldMk cId="2486047606" sldId="554"/>
            <ac:picMk id="5" creationId="{24EA8C5F-53A6-4552-AEB6-13750954E610}"/>
          </ac:picMkLst>
        </pc:picChg>
        <pc:picChg chg="del mod">
          <ac:chgData name="Lars Ivar" userId="da83bdda-499a-4427-8775-f375be339a54" providerId="ADAL" clId="{9A0F3B70-5B95-42C4-94C3-05567C69E257}" dt="2021-03-15T12:15:04.050" v="6273" actId="478"/>
          <ac:picMkLst>
            <pc:docMk/>
            <pc:sldMk cId="2486047606" sldId="554"/>
            <ac:picMk id="7" creationId="{7378BC64-2B2B-458E-A81F-D70C04A1460C}"/>
          </ac:picMkLst>
        </pc:picChg>
        <pc:picChg chg="del">
          <ac:chgData name="Lars Ivar" userId="da83bdda-499a-4427-8775-f375be339a54" providerId="ADAL" clId="{9A0F3B70-5B95-42C4-94C3-05567C69E257}" dt="2021-03-15T12:15:04.050" v="6273" actId="478"/>
          <ac:picMkLst>
            <pc:docMk/>
            <pc:sldMk cId="2486047606" sldId="554"/>
            <ac:picMk id="9" creationId="{B3EDD8D0-CD8C-4660-996D-740858F6761F}"/>
          </ac:picMkLst>
        </pc:picChg>
        <pc:cxnChg chg="add del">
          <ac:chgData name="Lars Ivar" userId="da83bdda-499a-4427-8775-f375be339a54" providerId="ADAL" clId="{9A0F3B70-5B95-42C4-94C3-05567C69E257}" dt="2021-03-15T12:54:46.415" v="6525" actId="11529"/>
          <ac:cxnSpMkLst>
            <pc:docMk/>
            <pc:sldMk cId="2486047606" sldId="554"/>
            <ac:cxnSpMk id="10" creationId="{506A9C73-9684-4021-A752-651444654F4B}"/>
          </ac:cxnSpMkLst>
        </pc:cxnChg>
        <pc:cxnChg chg="add del">
          <ac:chgData name="Lars Ivar" userId="da83bdda-499a-4427-8775-f375be339a54" providerId="ADAL" clId="{9A0F3B70-5B95-42C4-94C3-05567C69E257}" dt="2021-03-15T12:54:53.027" v="6527" actId="11529"/>
          <ac:cxnSpMkLst>
            <pc:docMk/>
            <pc:sldMk cId="2486047606" sldId="554"/>
            <ac:cxnSpMk id="13" creationId="{11A99F1F-B02B-45CD-9CB6-35CFD289A0C9}"/>
          </ac:cxnSpMkLst>
        </pc:cxnChg>
        <pc:cxnChg chg="add mod">
          <ac:chgData name="Lars Ivar" userId="da83bdda-499a-4427-8775-f375be339a54" providerId="ADAL" clId="{9A0F3B70-5B95-42C4-94C3-05567C69E257}" dt="2021-03-15T12:55:26.498" v="6557" actId="14100"/>
          <ac:cxnSpMkLst>
            <pc:docMk/>
            <pc:sldMk cId="2486047606" sldId="554"/>
            <ac:cxnSpMk id="15" creationId="{FCE7F82C-D19C-426B-AFCD-5C09EBE12030}"/>
          </ac:cxnSpMkLst>
        </pc:cxnChg>
        <pc:cxnChg chg="add mod">
          <ac:chgData name="Lars Ivar" userId="da83bdda-499a-4427-8775-f375be339a54" providerId="ADAL" clId="{9A0F3B70-5B95-42C4-94C3-05567C69E257}" dt="2021-03-15T12:55:23.438" v="6556" actId="14100"/>
          <ac:cxnSpMkLst>
            <pc:docMk/>
            <pc:sldMk cId="2486047606" sldId="554"/>
            <ac:cxnSpMk id="17" creationId="{1993DE54-F4AA-4352-AA12-089332A849A2}"/>
          </ac:cxnSpMkLst>
        </pc:cxnChg>
      </pc:sldChg>
      <pc:sldChg chg="addSp delSp modSp mod">
        <pc:chgData name="Lars Ivar" userId="da83bdda-499a-4427-8775-f375be339a54" providerId="ADAL" clId="{9A0F3B70-5B95-42C4-94C3-05567C69E257}" dt="2021-03-17T20:44:06.195" v="7503" actId="403"/>
        <pc:sldMkLst>
          <pc:docMk/>
          <pc:sldMk cId="650143799" sldId="555"/>
        </pc:sldMkLst>
        <pc:spChg chg="mod">
          <ac:chgData name="Lars Ivar" userId="da83bdda-499a-4427-8775-f375be339a54" providerId="ADAL" clId="{9A0F3B70-5B95-42C4-94C3-05567C69E257}" dt="2021-03-17T20:44:06.195" v="7503" actId="403"/>
          <ac:spMkLst>
            <pc:docMk/>
            <pc:sldMk cId="650143799" sldId="555"/>
            <ac:spMk id="7" creationId="{63991A79-2DF5-4987-8986-F8B6237BF2C9}"/>
          </ac:spMkLst>
        </pc:spChg>
        <pc:spChg chg="add del mod">
          <ac:chgData name="Lars Ivar" userId="da83bdda-499a-4427-8775-f375be339a54" providerId="ADAL" clId="{9A0F3B70-5B95-42C4-94C3-05567C69E257}" dt="2021-03-17T20:43:48.967" v="7498"/>
          <ac:spMkLst>
            <pc:docMk/>
            <pc:sldMk cId="650143799" sldId="555"/>
            <ac:spMk id="25" creationId="{0464CA5D-D729-441C-9650-3EE4C6232D65}"/>
          </ac:spMkLst>
        </pc:spChg>
        <pc:spChg chg="add del mod">
          <ac:chgData name="Lars Ivar" userId="da83bdda-499a-4427-8775-f375be339a54" providerId="ADAL" clId="{9A0F3B70-5B95-42C4-94C3-05567C69E257}" dt="2021-03-17T20:44:02.924" v="7502" actId="478"/>
          <ac:spMkLst>
            <pc:docMk/>
            <pc:sldMk cId="650143799" sldId="555"/>
            <ac:spMk id="26" creationId="{C4AC2B01-5501-4803-A667-B2CD9B48AAA0}"/>
          </ac:spMkLst>
        </pc:spChg>
        <pc:picChg chg="mod">
          <ac:chgData name="Lars Ivar" userId="da83bdda-499a-4427-8775-f375be339a54" providerId="ADAL" clId="{9A0F3B70-5B95-42C4-94C3-05567C69E257}" dt="2021-03-17T20:43:33.389" v="7492" actId="1076"/>
          <ac:picMkLst>
            <pc:docMk/>
            <pc:sldMk cId="650143799" sldId="555"/>
            <ac:picMk id="23" creationId="{44E316F0-0BC9-4563-947F-6A3F487C27CB}"/>
          </ac:picMkLst>
        </pc:picChg>
      </pc:sldChg>
      <pc:sldChg chg="delSp modSp add mod">
        <pc:chgData name="Lars Ivar" userId="da83bdda-499a-4427-8775-f375be339a54" providerId="ADAL" clId="{9A0F3B70-5B95-42C4-94C3-05567C69E257}" dt="2021-03-15T14:18:00.326" v="6919" actId="478"/>
        <pc:sldMkLst>
          <pc:docMk/>
          <pc:sldMk cId="3439735525" sldId="555"/>
        </pc:sldMkLst>
        <pc:spChg chg="del mod">
          <ac:chgData name="Lars Ivar" userId="da83bdda-499a-4427-8775-f375be339a54" providerId="ADAL" clId="{9A0F3B70-5B95-42C4-94C3-05567C69E257}" dt="2021-03-15T14:17:46.616" v="6911" actId="478"/>
          <ac:spMkLst>
            <pc:docMk/>
            <pc:sldMk cId="3439735525" sldId="555"/>
            <ac:spMk id="3" creationId="{FBFA873D-0EAC-4D07-996B-B429A793C066}"/>
          </ac:spMkLst>
        </pc:spChg>
        <pc:spChg chg="del mod">
          <ac:chgData name="Lars Ivar" userId="da83bdda-499a-4427-8775-f375be339a54" providerId="ADAL" clId="{9A0F3B70-5B95-42C4-94C3-05567C69E257}" dt="2021-03-15T14:17:55.328" v="6917" actId="478"/>
          <ac:spMkLst>
            <pc:docMk/>
            <pc:sldMk cId="3439735525" sldId="555"/>
            <ac:spMk id="5" creationId="{576249E6-FCC1-4611-8A08-3DFA173A9B38}"/>
          </ac:spMkLst>
        </pc:spChg>
        <pc:spChg chg="mod">
          <ac:chgData name="Lars Ivar" userId="da83bdda-499a-4427-8775-f375be339a54" providerId="ADAL" clId="{9A0F3B70-5B95-42C4-94C3-05567C69E257}" dt="2021-03-15T14:17:50.153" v="6913" actId="6549"/>
          <ac:spMkLst>
            <pc:docMk/>
            <pc:sldMk cId="3439735525" sldId="555"/>
            <ac:spMk id="7" creationId="{63991A79-2DF5-4987-8986-F8B6237BF2C9}"/>
          </ac:spMkLst>
        </pc:spChg>
        <pc:spChg chg="del">
          <ac:chgData name="Lars Ivar" userId="da83bdda-499a-4427-8775-f375be339a54" providerId="ADAL" clId="{9A0F3B70-5B95-42C4-94C3-05567C69E257}" dt="2021-03-15T14:17:45.736" v="6909" actId="478"/>
          <ac:spMkLst>
            <pc:docMk/>
            <pc:sldMk cId="3439735525" sldId="555"/>
            <ac:spMk id="26" creationId="{C08E6AB1-06B1-47A7-8691-A206BD476562}"/>
          </ac:spMkLst>
        </pc:spChg>
        <pc:spChg chg="del">
          <ac:chgData name="Lars Ivar" userId="da83bdda-499a-4427-8775-f375be339a54" providerId="ADAL" clId="{9A0F3B70-5B95-42C4-94C3-05567C69E257}" dt="2021-03-15T14:17:58.440" v="6918" actId="478"/>
          <ac:spMkLst>
            <pc:docMk/>
            <pc:sldMk cId="3439735525" sldId="555"/>
            <ac:spMk id="27" creationId="{BE99AE81-1325-46E4-8A50-0C5604E92AD1}"/>
          </ac:spMkLst>
        </pc:spChg>
        <pc:spChg chg="del">
          <ac:chgData name="Lars Ivar" userId="da83bdda-499a-4427-8775-f375be339a54" providerId="ADAL" clId="{9A0F3B70-5B95-42C4-94C3-05567C69E257}" dt="2021-03-15T14:17:46.195" v="6910" actId="478"/>
          <ac:spMkLst>
            <pc:docMk/>
            <pc:sldMk cId="3439735525" sldId="555"/>
            <ac:spMk id="28" creationId="{A4711B5E-7769-444A-BBD2-BB223E67B516}"/>
          </ac:spMkLst>
        </pc:spChg>
        <pc:spChg chg="del mod">
          <ac:chgData name="Lars Ivar" userId="da83bdda-499a-4427-8775-f375be339a54" providerId="ADAL" clId="{9A0F3B70-5B95-42C4-94C3-05567C69E257}" dt="2021-03-15T14:17:51.721" v="6914" actId="478"/>
          <ac:spMkLst>
            <pc:docMk/>
            <pc:sldMk cId="3439735525" sldId="555"/>
            <ac:spMk id="29" creationId="{DE795856-299F-406F-8AAC-C77F5C21E708}"/>
          </ac:spMkLst>
        </pc:spChg>
        <pc:spChg chg="del">
          <ac:chgData name="Lars Ivar" userId="da83bdda-499a-4427-8775-f375be339a54" providerId="ADAL" clId="{9A0F3B70-5B95-42C4-94C3-05567C69E257}" dt="2021-03-15T14:17:45.173" v="6908" actId="478"/>
          <ac:spMkLst>
            <pc:docMk/>
            <pc:sldMk cId="3439735525" sldId="555"/>
            <ac:spMk id="30" creationId="{1277E13B-FE8F-40C6-918E-2B0985BFD9E4}"/>
          </ac:spMkLst>
        </pc:spChg>
        <pc:spChg chg="del">
          <ac:chgData name="Lars Ivar" userId="da83bdda-499a-4427-8775-f375be339a54" providerId="ADAL" clId="{9A0F3B70-5B95-42C4-94C3-05567C69E257}" dt="2021-03-15T14:18:00.326" v="6919" actId="478"/>
          <ac:spMkLst>
            <pc:docMk/>
            <pc:sldMk cId="3439735525" sldId="555"/>
            <ac:spMk id="31" creationId="{B03F4627-69B5-4096-B8EE-C6AA06759AB5}"/>
          </ac:spMkLst>
        </pc:spChg>
        <pc:picChg chg="del">
          <ac:chgData name="Lars Ivar" userId="da83bdda-499a-4427-8775-f375be339a54" providerId="ADAL" clId="{9A0F3B70-5B95-42C4-94C3-05567C69E257}" dt="2021-03-15T14:17:43.969" v="6907" actId="478"/>
          <ac:picMkLst>
            <pc:docMk/>
            <pc:sldMk cId="3439735525" sldId="555"/>
            <ac:picMk id="4" creationId="{06E4D40C-FEB0-4FFF-BAB3-E481C96DBF5C}"/>
          </ac:picMkLst>
        </pc:picChg>
      </pc:sldChg>
      <pc:sldChg chg="delSp modSp mod">
        <pc:chgData name="Lars Ivar" userId="da83bdda-499a-4427-8775-f375be339a54" providerId="ADAL" clId="{9A0F3B70-5B95-42C4-94C3-05567C69E257}" dt="2021-03-18T15:07:43.387" v="8493" actId="14"/>
        <pc:sldMkLst>
          <pc:docMk/>
          <pc:sldMk cId="1497357032" sldId="557"/>
        </pc:sldMkLst>
        <pc:spChg chg="mod">
          <ac:chgData name="Lars Ivar" userId="da83bdda-499a-4427-8775-f375be339a54" providerId="ADAL" clId="{9A0F3B70-5B95-42C4-94C3-05567C69E257}" dt="2021-03-18T15:07:43.387" v="8493" actId="14"/>
          <ac:spMkLst>
            <pc:docMk/>
            <pc:sldMk cId="1497357032" sldId="557"/>
            <ac:spMk id="7" creationId="{63991A79-2DF5-4987-8986-F8B6237BF2C9}"/>
          </ac:spMkLst>
        </pc:spChg>
        <pc:picChg chg="del mod">
          <ac:chgData name="Lars Ivar" userId="da83bdda-499a-4427-8775-f375be339a54" providerId="ADAL" clId="{9A0F3B70-5B95-42C4-94C3-05567C69E257}" dt="2021-03-17T20:34:17.581" v="7095" actId="21"/>
          <ac:picMkLst>
            <pc:docMk/>
            <pc:sldMk cId="1497357032" sldId="557"/>
            <ac:picMk id="24" creationId="{1DCAF517-290C-4B9A-BF40-827866B9EB0E}"/>
          </ac:picMkLst>
        </pc:picChg>
      </pc:sldChg>
      <pc:sldChg chg="modSp mod">
        <pc:chgData name="Lars Ivar" userId="da83bdda-499a-4427-8775-f375be339a54" providerId="ADAL" clId="{9A0F3B70-5B95-42C4-94C3-05567C69E257}" dt="2021-03-18T15:05:38.157" v="8472" actId="20577"/>
        <pc:sldMkLst>
          <pc:docMk/>
          <pc:sldMk cId="2715989708" sldId="560"/>
        </pc:sldMkLst>
        <pc:spChg chg="mod">
          <ac:chgData name="Lars Ivar" userId="da83bdda-499a-4427-8775-f375be339a54" providerId="ADAL" clId="{9A0F3B70-5B95-42C4-94C3-05567C69E257}" dt="2021-03-18T15:05:38.157" v="8472" actId="20577"/>
          <ac:spMkLst>
            <pc:docMk/>
            <pc:sldMk cId="2715989708" sldId="560"/>
            <ac:spMk id="26" creationId="{F7012B31-D035-4588-A480-DACDA83B843C}"/>
          </ac:spMkLst>
        </pc:spChg>
      </pc:sldChg>
    </pc:docChg>
  </pc:docChgLst>
  <pc:docChgLst>
    <pc:chgData name="Tongtong Wang" userId="5026a17a-445d-4aa4-bcd4-da2975ecf913" providerId="ADAL" clId="{70E5CDF1-562D-4874-8C20-2EC47FA2ECB3}"/>
    <pc:docChg chg="undo custSel addSld delSld modSld">
      <pc:chgData name="Tongtong Wang" userId="5026a17a-445d-4aa4-bcd4-da2975ecf913" providerId="ADAL" clId="{70E5CDF1-562D-4874-8C20-2EC47FA2ECB3}" dt="2022-09-05T10:23:48.096" v="1096" actId="47"/>
      <pc:docMkLst>
        <pc:docMk/>
      </pc:docMkLst>
      <pc:sldChg chg="addSp modSp mod">
        <pc:chgData name="Tongtong Wang" userId="5026a17a-445d-4aa4-bcd4-da2975ecf913" providerId="ADAL" clId="{70E5CDF1-562D-4874-8C20-2EC47FA2ECB3}" dt="2022-09-05T07:22:22.372" v="33"/>
        <pc:sldMkLst>
          <pc:docMk/>
          <pc:sldMk cId="3243102052" sldId="256"/>
        </pc:sldMkLst>
        <pc:spChg chg="mod">
          <ac:chgData name="Tongtong Wang" userId="5026a17a-445d-4aa4-bcd4-da2975ecf913" providerId="ADAL" clId="{70E5CDF1-562D-4874-8C20-2EC47FA2ECB3}" dt="2022-09-05T07:07:45.880" v="4" actId="1076"/>
          <ac:spMkLst>
            <pc:docMk/>
            <pc:sldMk cId="3243102052" sldId="256"/>
            <ac:spMk id="2" creationId="{00000000-0000-0000-0000-000000000000}"/>
          </ac:spMkLst>
        </pc:spChg>
        <pc:spChg chg="mod">
          <ac:chgData name="Tongtong Wang" userId="5026a17a-445d-4aa4-bcd4-da2975ecf913" providerId="ADAL" clId="{70E5CDF1-562D-4874-8C20-2EC47FA2ECB3}" dt="2022-09-05T07:21:53.875" v="23" actId="1076"/>
          <ac:spMkLst>
            <pc:docMk/>
            <pc:sldMk cId="3243102052" sldId="256"/>
            <ac:spMk id="3" creationId="{00000000-0000-0000-0000-000000000000}"/>
          </ac:spMkLst>
        </pc:spChg>
        <pc:spChg chg="mod">
          <ac:chgData name="Tongtong Wang" userId="5026a17a-445d-4aa4-bcd4-da2975ecf913" providerId="ADAL" clId="{70E5CDF1-562D-4874-8C20-2EC47FA2ECB3}" dt="2022-09-05T07:21:48.429" v="21" actId="1076"/>
          <ac:spMkLst>
            <pc:docMk/>
            <pc:sldMk cId="3243102052" sldId="256"/>
            <ac:spMk id="9" creationId="{00000000-0000-0000-0000-000000000000}"/>
          </ac:spMkLst>
        </pc:spChg>
        <pc:spChg chg="add mod">
          <ac:chgData name="Tongtong Wang" userId="5026a17a-445d-4aa4-bcd4-da2975ecf913" providerId="ADAL" clId="{70E5CDF1-562D-4874-8C20-2EC47FA2ECB3}" dt="2022-09-05T07:22:22.372" v="33"/>
          <ac:spMkLst>
            <pc:docMk/>
            <pc:sldMk cId="3243102052" sldId="256"/>
            <ac:spMk id="10" creationId="{CCCA50E0-3D3F-4FEA-B9C8-02C6AD9221C5}"/>
          </ac:spMkLst>
        </pc:spChg>
        <pc:picChg chg="add mod">
          <ac:chgData name="Tongtong Wang" userId="5026a17a-445d-4aa4-bcd4-da2975ecf913" providerId="ADAL" clId="{70E5CDF1-562D-4874-8C20-2EC47FA2ECB3}" dt="2022-09-05T07:07:37.128" v="3" actId="1076"/>
          <ac:picMkLst>
            <pc:docMk/>
            <pc:sldMk cId="3243102052" sldId="256"/>
            <ac:picMk id="1026" creationId="{07809188-BA9D-46F5-A42A-7709EA3E0AE9}"/>
          </ac:picMkLst>
        </pc:picChg>
      </pc:sldChg>
      <pc:sldChg chg="delSp modSp mod modNotesTx">
        <pc:chgData name="Tongtong Wang" userId="5026a17a-445d-4aa4-bcd4-da2975ecf913" providerId="ADAL" clId="{70E5CDF1-562D-4874-8C20-2EC47FA2ECB3}" dt="2022-09-05T10:21:14.432" v="1081" actId="1076"/>
        <pc:sldMkLst>
          <pc:docMk/>
          <pc:sldMk cId="1353464509" sldId="539"/>
        </pc:sldMkLst>
        <pc:spChg chg="mod">
          <ac:chgData name="Tongtong Wang" userId="5026a17a-445d-4aa4-bcd4-da2975ecf913" providerId="ADAL" clId="{70E5CDF1-562D-4874-8C20-2EC47FA2ECB3}" dt="2022-09-05T10:21:05.215" v="1078" actId="113"/>
          <ac:spMkLst>
            <pc:docMk/>
            <pc:sldMk cId="1353464509" sldId="539"/>
            <ac:spMk id="7" creationId="{63991A79-2DF5-4987-8986-F8B6237BF2C9}"/>
          </ac:spMkLst>
        </pc:spChg>
        <pc:spChg chg="del mod">
          <ac:chgData name="Tongtong Wang" userId="5026a17a-445d-4aa4-bcd4-da2975ecf913" providerId="ADAL" clId="{70E5CDF1-562D-4874-8C20-2EC47FA2ECB3}" dt="2022-09-05T08:10:29.809" v="494"/>
          <ac:spMkLst>
            <pc:docMk/>
            <pc:sldMk cId="1353464509" sldId="539"/>
            <ac:spMk id="29" creationId="{EBD9FE7C-CD72-4B7B-AD05-8DC094692138}"/>
          </ac:spMkLst>
        </pc:spChg>
        <pc:spChg chg="del mod">
          <ac:chgData name="Tongtong Wang" userId="5026a17a-445d-4aa4-bcd4-da2975ecf913" providerId="ADAL" clId="{70E5CDF1-562D-4874-8C20-2EC47FA2ECB3}" dt="2022-09-05T08:10:29.806" v="492"/>
          <ac:spMkLst>
            <pc:docMk/>
            <pc:sldMk cId="1353464509" sldId="539"/>
            <ac:spMk id="31" creationId="{47A92B6B-ED9B-41D4-9D80-DA9036CCEDAF}"/>
          </ac:spMkLst>
        </pc:spChg>
        <pc:picChg chg="mod">
          <ac:chgData name="Tongtong Wang" userId="5026a17a-445d-4aa4-bcd4-da2975ecf913" providerId="ADAL" clId="{70E5CDF1-562D-4874-8C20-2EC47FA2ECB3}" dt="2022-09-05T10:21:14.432" v="1081" actId="1076"/>
          <ac:picMkLst>
            <pc:docMk/>
            <pc:sldMk cId="1353464509" sldId="539"/>
            <ac:picMk id="3080" creationId="{755106FA-9FD6-4865-BD7A-7E049965668D}"/>
          </ac:picMkLst>
        </pc:picChg>
        <pc:picChg chg="mod">
          <ac:chgData name="Tongtong Wang" userId="5026a17a-445d-4aa4-bcd4-da2975ecf913" providerId="ADAL" clId="{70E5CDF1-562D-4874-8C20-2EC47FA2ECB3}" dt="2022-09-05T08:10:29.376" v="490" actId="1076"/>
          <ac:picMkLst>
            <pc:docMk/>
            <pc:sldMk cId="1353464509" sldId="539"/>
            <ac:picMk id="3090" creationId="{95321200-D0F6-456B-959C-075269420345}"/>
          </ac:picMkLst>
        </pc:picChg>
      </pc:sldChg>
      <pc:sldChg chg="modSp mod">
        <pc:chgData name="Tongtong Wang" userId="5026a17a-445d-4aa4-bcd4-da2975ecf913" providerId="ADAL" clId="{70E5CDF1-562D-4874-8C20-2EC47FA2ECB3}" dt="2022-09-05T10:22:30.583" v="1095" actId="20577"/>
        <pc:sldMkLst>
          <pc:docMk/>
          <pc:sldMk cId="4048465790" sldId="562"/>
        </pc:sldMkLst>
        <pc:spChg chg="mod">
          <ac:chgData name="Tongtong Wang" userId="5026a17a-445d-4aa4-bcd4-da2975ecf913" providerId="ADAL" clId="{70E5CDF1-562D-4874-8C20-2EC47FA2ECB3}" dt="2022-09-05T10:22:30.583" v="1095" actId="20577"/>
          <ac:spMkLst>
            <pc:docMk/>
            <pc:sldMk cId="4048465790" sldId="562"/>
            <ac:spMk id="45" creationId="{ABE05CC7-87A9-4E18-AEA7-3CFE48FBF726}"/>
          </ac:spMkLst>
        </pc:spChg>
      </pc:sldChg>
      <pc:sldChg chg="addSp modSp mod">
        <pc:chgData name="Tongtong Wang" userId="5026a17a-445d-4aa4-bcd4-da2975ecf913" providerId="ADAL" clId="{70E5CDF1-562D-4874-8C20-2EC47FA2ECB3}" dt="2022-09-05T08:42:41.892" v="821" actId="22"/>
        <pc:sldMkLst>
          <pc:docMk/>
          <pc:sldMk cId="2268826138" sldId="563"/>
        </pc:sldMkLst>
        <pc:spChg chg="mod">
          <ac:chgData name="Tongtong Wang" userId="5026a17a-445d-4aa4-bcd4-da2975ecf913" providerId="ADAL" clId="{70E5CDF1-562D-4874-8C20-2EC47FA2ECB3}" dt="2022-09-05T08:26:26.599" v="528" actId="20577"/>
          <ac:spMkLst>
            <pc:docMk/>
            <pc:sldMk cId="2268826138" sldId="563"/>
            <ac:spMk id="7" creationId="{63991A79-2DF5-4987-8986-F8B6237BF2C9}"/>
          </ac:spMkLst>
        </pc:spChg>
        <pc:spChg chg="add">
          <ac:chgData name="Tongtong Wang" userId="5026a17a-445d-4aa4-bcd4-da2975ecf913" providerId="ADAL" clId="{70E5CDF1-562D-4874-8C20-2EC47FA2ECB3}" dt="2022-09-05T08:42:41.892" v="821" actId="22"/>
          <ac:spMkLst>
            <pc:docMk/>
            <pc:sldMk cId="2268826138" sldId="563"/>
            <ac:spMk id="9" creationId="{4A37EB97-3F83-4A4C-91BB-AE8CB87D69EE}"/>
          </ac:spMkLst>
        </pc:spChg>
      </pc:sldChg>
      <pc:sldChg chg="modSp mod modAnim">
        <pc:chgData name="Tongtong Wang" userId="5026a17a-445d-4aa4-bcd4-da2975ecf913" providerId="ADAL" clId="{70E5CDF1-562D-4874-8C20-2EC47FA2ECB3}" dt="2022-09-05T09:02:43.575" v="1030"/>
        <pc:sldMkLst>
          <pc:docMk/>
          <pc:sldMk cId="738170867" sldId="565"/>
        </pc:sldMkLst>
        <pc:spChg chg="mod">
          <ac:chgData name="Tongtong Wang" userId="5026a17a-445d-4aa4-bcd4-da2975ecf913" providerId="ADAL" clId="{70E5CDF1-562D-4874-8C20-2EC47FA2ECB3}" dt="2022-09-05T09:02:43.575" v="1030"/>
          <ac:spMkLst>
            <pc:docMk/>
            <pc:sldMk cId="738170867" sldId="565"/>
            <ac:spMk id="7" creationId="{63991A79-2DF5-4987-8986-F8B6237BF2C9}"/>
          </ac:spMkLst>
        </pc:spChg>
        <pc:picChg chg="mod">
          <ac:chgData name="Tongtong Wang" userId="5026a17a-445d-4aa4-bcd4-da2975ecf913" providerId="ADAL" clId="{70E5CDF1-562D-4874-8C20-2EC47FA2ECB3}" dt="2022-09-05T08:26:50.822" v="551" actId="1076"/>
          <ac:picMkLst>
            <pc:docMk/>
            <pc:sldMk cId="738170867" sldId="565"/>
            <ac:picMk id="4" creationId="{6327F766-DEF8-4C94-B8FB-CED314481F46}"/>
          </ac:picMkLst>
        </pc:picChg>
        <pc:picChg chg="mod">
          <ac:chgData name="Tongtong Wang" userId="5026a17a-445d-4aa4-bcd4-da2975ecf913" providerId="ADAL" clId="{70E5CDF1-562D-4874-8C20-2EC47FA2ECB3}" dt="2022-09-05T08:26:49.334" v="550" actId="1076"/>
          <ac:picMkLst>
            <pc:docMk/>
            <pc:sldMk cId="738170867" sldId="565"/>
            <ac:picMk id="22530" creationId="{779619B4-FB01-4996-9B7D-EFAF80049EFC}"/>
          </ac:picMkLst>
        </pc:picChg>
      </pc:sldChg>
      <pc:sldChg chg="del">
        <pc:chgData name="Tongtong Wang" userId="5026a17a-445d-4aa4-bcd4-da2975ecf913" providerId="ADAL" clId="{70E5CDF1-562D-4874-8C20-2EC47FA2ECB3}" dt="2022-09-05T10:23:48.096" v="1096" actId="47"/>
        <pc:sldMkLst>
          <pc:docMk/>
          <pc:sldMk cId="1655805330" sldId="566"/>
        </pc:sldMkLst>
      </pc:sldChg>
      <pc:sldChg chg="modSp del mod">
        <pc:chgData name="Tongtong Wang" userId="5026a17a-445d-4aa4-bcd4-da2975ecf913" providerId="ADAL" clId="{70E5CDF1-562D-4874-8C20-2EC47FA2ECB3}" dt="2022-09-05T08:34:23.314" v="820" actId="2696"/>
        <pc:sldMkLst>
          <pc:docMk/>
          <pc:sldMk cId="3562600047" sldId="568"/>
        </pc:sldMkLst>
        <pc:spChg chg="mod">
          <ac:chgData name="Tongtong Wang" userId="5026a17a-445d-4aa4-bcd4-da2975ecf913" providerId="ADAL" clId="{70E5CDF1-562D-4874-8C20-2EC47FA2ECB3}" dt="2022-09-05T08:26:32.436" v="529" actId="20577"/>
          <ac:spMkLst>
            <pc:docMk/>
            <pc:sldMk cId="3562600047" sldId="568"/>
            <ac:spMk id="7" creationId="{63991A79-2DF5-4987-8986-F8B6237BF2C9}"/>
          </ac:spMkLst>
        </pc:spChg>
      </pc:sldChg>
      <pc:sldChg chg="addSp delSp modSp mod">
        <pc:chgData name="Tongtong Wang" userId="5026a17a-445d-4aa4-bcd4-da2975ecf913" providerId="ADAL" clId="{70E5CDF1-562D-4874-8C20-2EC47FA2ECB3}" dt="2022-09-05T10:21:27.878" v="1082" actId="20577"/>
        <pc:sldMkLst>
          <pc:docMk/>
          <pc:sldMk cId="784037174" sldId="569"/>
        </pc:sldMkLst>
        <pc:spChg chg="add del">
          <ac:chgData name="Tongtong Wang" userId="5026a17a-445d-4aa4-bcd4-da2975ecf913" providerId="ADAL" clId="{70E5CDF1-562D-4874-8C20-2EC47FA2ECB3}" dt="2022-09-05T09:00:20.911" v="975" actId="21"/>
          <ac:spMkLst>
            <pc:docMk/>
            <pc:sldMk cId="784037174" sldId="569"/>
            <ac:spMk id="2" creationId="{BE1BB79F-0112-4903-93E8-31490FE8B079}"/>
          </ac:spMkLst>
        </pc:spChg>
        <pc:spChg chg="mod">
          <ac:chgData name="Tongtong Wang" userId="5026a17a-445d-4aa4-bcd4-da2975ecf913" providerId="ADAL" clId="{70E5CDF1-562D-4874-8C20-2EC47FA2ECB3}" dt="2022-09-05T10:21:27.878" v="1082" actId="20577"/>
          <ac:spMkLst>
            <pc:docMk/>
            <pc:sldMk cId="784037174" sldId="569"/>
            <ac:spMk id="7" creationId="{63991A79-2DF5-4987-8986-F8B6237BF2C9}"/>
          </ac:spMkLst>
        </pc:spChg>
        <pc:picChg chg="mod">
          <ac:chgData name="Tongtong Wang" userId="5026a17a-445d-4aa4-bcd4-da2975ecf913" providerId="ADAL" clId="{70E5CDF1-562D-4874-8C20-2EC47FA2ECB3}" dt="2022-09-05T08:07:13.836" v="308" actId="1076"/>
          <ac:picMkLst>
            <pc:docMk/>
            <pc:sldMk cId="784037174" sldId="569"/>
            <ac:picMk id="3" creationId="{A0CAA4C5-B4C0-4DEB-A2C8-AAD069C65A2F}"/>
          </ac:picMkLst>
        </pc:picChg>
      </pc:sldChg>
      <pc:sldChg chg="addSp modSp mod modAnim">
        <pc:chgData name="Tongtong Wang" userId="5026a17a-445d-4aa4-bcd4-da2975ecf913" providerId="ADAL" clId="{70E5CDF1-562D-4874-8C20-2EC47FA2ECB3}" dt="2022-09-05T08:25:01.076" v="527"/>
        <pc:sldMkLst>
          <pc:docMk/>
          <pc:sldMk cId="2958877676" sldId="570"/>
        </pc:sldMkLst>
        <pc:spChg chg="mod">
          <ac:chgData name="Tongtong Wang" userId="5026a17a-445d-4aa4-bcd4-da2975ecf913" providerId="ADAL" clId="{70E5CDF1-562D-4874-8C20-2EC47FA2ECB3}" dt="2022-09-05T08:22:50.835" v="523" actId="207"/>
          <ac:spMkLst>
            <pc:docMk/>
            <pc:sldMk cId="2958877676" sldId="570"/>
            <ac:spMk id="7" creationId="{63991A79-2DF5-4987-8986-F8B6237BF2C9}"/>
          </ac:spMkLst>
        </pc:spChg>
        <pc:picChg chg="add mod">
          <ac:chgData name="Tongtong Wang" userId="5026a17a-445d-4aa4-bcd4-da2975ecf913" providerId="ADAL" clId="{70E5CDF1-562D-4874-8C20-2EC47FA2ECB3}" dt="2022-09-05T08:24:39.464" v="526" actId="1076"/>
          <ac:picMkLst>
            <pc:docMk/>
            <pc:sldMk cId="2958877676" sldId="570"/>
            <ac:picMk id="3" creationId="{DE20483A-74E8-4E6B-B227-952EA78D9B7B}"/>
          </ac:picMkLst>
        </pc:picChg>
        <pc:picChg chg="mod">
          <ac:chgData name="Tongtong Wang" userId="5026a17a-445d-4aa4-bcd4-da2975ecf913" providerId="ADAL" clId="{70E5CDF1-562D-4874-8C20-2EC47FA2ECB3}" dt="2022-09-05T08:22:15.936" v="518" actId="1076"/>
          <ac:picMkLst>
            <pc:docMk/>
            <pc:sldMk cId="2958877676" sldId="570"/>
            <ac:picMk id="8" creationId="{E8528E15-5848-437A-9FA9-9D1E767CC3D5}"/>
          </ac:picMkLst>
        </pc:picChg>
      </pc:sldChg>
      <pc:sldChg chg="modSp mod">
        <pc:chgData name="Tongtong Wang" userId="5026a17a-445d-4aa4-bcd4-da2975ecf913" providerId="ADAL" clId="{70E5CDF1-562D-4874-8C20-2EC47FA2ECB3}" dt="2022-09-05T07:25:45.483" v="42" actId="20577"/>
        <pc:sldMkLst>
          <pc:docMk/>
          <pc:sldMk cId="2105756326" sldId="575"/>
        </pc:sldMkLst>
        <pc:spChg chg="mod">
          <ac:chgData name="Tongtong Wang" userId="5026a17a-445d-4aa4-bcd4-da2975ecf913" providerId="ADAL" clId="{70E5CDF1-562D-4874-8C20-2EC47FA2ECB3}" dt="2022-09-05T07:25:41.477" v="40" actId="20577"/>
          <ac:spMkLst>
            <pc:docMk/>
            <pc:sldMk cId="2105756326" sldId="575"/>
            <ac:spMk id="2" creationId="{3F4ED8F6-B2AB-4B21-B259-1A21DBAED29A}"/>
          </ac:spMkLst>
        </pc:spChg>
        <pc:spChg chg="mod">
          <ac:chgData name="Tongtong Wang" userId="5026a17a-445d-4aa4-bcd4-da2975ecf913" providerId="ADAL" clId="{70E5CDF1-562D-4874-8C20-2EC47FA2ECB3}" dt="2022-09-05T07:25:43.501" v="41" actId="20577"/>
          <ac:spMkLst>
            <pc:docMk/>
            <pc:sldMk cId="2105756326" sldId="575"/>
            <ac:spMk id="11" creationId="{C8B9E813-0510-4E9D-A481-EE001DAB792E}"/>
          </ac:spMkLst>
        </pc:spChg>
        <pc:spChg chg="mod">
          <ac:chgData name="Tongtong Wang" userId="5026a17a-445d-4aa4-bcd4-da2975ecf913" providerId="ADAL" clId="{70E5CDF1-562D-4874-8C20-2EC47FA2ECB3}" dt="2022-09-05T07:25:45.483" v="42" actId="20577"/>
          <ac:spMkLst>
            <pc:docMk/>
            <pc:sldMk cId="2105756326" sldId="575"/>
            <ac:spMk id="12" creationId="{2F07ADF2-4969-432C-AC78-AD7623B1C652}"/>
          </ac:spMkLst>
        </pc:spChg>
      </pc:sldChg>
      <pc:sldChg chg="modSp mod">
        <pc:chgData name="Tongtong Wang" userId="5026a17a-445d-4aa4-bcd4-da2975ecf913" providerId="ADAL" clId="{70E5CDF1-562D-4874-8C20-2EC47FA2ECB3}" dt="2022-09-05T07:26:40.831" v="51" actId="20577"/>
        <pc:sldMkLst>
          <pc:docMk/>
          <pc:sldMk cId="1219844231" sldId="579"/>
        </pc:sldMkLst>
        <pc:spChg chg="mod">
          <ac:chgData name="Tongtong Wang" userId="5026a17a-445d-4aa4-bcd4-da2975ecf913" providerId="ADAL" clId="{70E5CDF1-562D-4874-8C20-2EC47FA2ECB3}" dt="2022-09-05T07:26:40.831" v="51" actId="20577"/>
          <ac:spMkLst>
            <pc:docMk/>
            <pc:sldMk cId="1219844231" sldId="579"/>
            <ac:spMk id="7" creationId="{63991A79-2DF5-4987-8986-F8B6237BF2C9}"/>
          </ac:spMkLst>
        </pc:spChg>
      </pc:sldChg>
      <pc:sldChg chg="modSp mod">
        <pc:chgData name="Tongtong Wang" userId="5026a17a-445d-4aa4-bcd4-da2975ecf913" providerId="ADAL" clId="{70E5CDF1-562D-4874-8C20-2EC47FA2ECB3}" dt="2022-09-05T10:19:40.653" v="1077" actId="1076"/>
        <pc:sldMkLst>
          <pc:docMk/>
          <pc:sldMk cId="2329499921" sldId="580"/>
        </pc:sldMkLst>
        <pc:spChg chg="mod">
          <ac:chgData name="Tongtong Wang" userId="5026a17a-445d-4aa4-bcd4-da2975ecf913" providerId="ADAL" clId="{70E5CDF1-562D-4874-8C20-2EC47FA2ECB3}" dt="2022-09-05T10:19:23.868" v="1071" actId="20577"/>
          <ac:spMkLst>
            <pc:docMk/>
            <pc:sldMk cId="2329499921" sldId="580"/>
            <ac:spMk id="7" creationId="{63991A79-2DF5-4987-8986-F8B6237BF2C9}"/>
          </ac:spMkLst>
        </pc:spChg>
        <pc:picChg chg="mod">
          <ac:chgData name="Tongtong Wang" userId="5026a17a-445d-4aa4-bcd4-da2975ecf913" providerId="ADAL" clId="{70E5CDF1-562D-4874-8C20-2EC47FA2ECB3}" dt="2022-09-05T10:19:40.653" v="1077" actId="1076"/>
          <ac:picMkLst>
            <pc:docMk/>
            <pc:sldMk cId="2329499921" sldId="580"/>
            <ac:picMk id="9" creationId="{80589BDE-126F-4384-82A4-A010DB68A120}"/>
          </ac:picMkLst>
        </pc:picChg>
        <pc:picChg chg="mod">
          <ac:chgData name="Tongtong Wang" userId="5026a17a-445d-4aa4-bcd4-da2975ecf913" providerId="ADAL" clId="{70E5CDF1-562D-4874-8C20-2EC47FA2ECB3}" dt="2022-09-05T10:19:40.653" v="1077" actId="1076"/>
          <ac:picMkLst>
            <pc:docMk/>
            <pc:sldMk cId="2329499921" sldId="580"/>
            <ac:picMk id="1026" creationId="{1D982F4E-9C37-483E-963E-AB7915A4ADD0}"/>
          </ac:picMkLst>
        </pc:picChg>
      </pc:sldChg>
      <pc:sldChg chg="addSp delSp mod">
        <pc:chgData name="Tongtong Wang" userId="5026a17a-445d-4aa4-bcd4-da2975ecf913" providerId="ADAL" clId="{70E5CDF1-562D-4874-8C20-2EC47FA2ECB3}" dt="2022-09-05T08:31:11.422" v="594" actId="478"/>
        <pc:sldMkLst>
          <pc:docMk/>
          <pc:sldMk cId="2250080179" sldId="587"/>
        </pc:sldMkLst>
        <pc:spChg chg="add del">
          <ac:chgData name="Tongtong Wang" userId="5026a17a-445d-4aa4-bcd4-da2975ecf913" providerId="ADAL" clId="{70E5CDF1-562D-4874-8C20-2EC47FA2ECB3}" dt="2022-09-05T08:31:11.422" v="594" actId="478"/>
          <ac:spMkLst>
            <pc:docMk/>
            <pc:sldMk cId="2250080179" sldId="587"/>
            <ac:spMk id="12" creationId="{98E34724-A5A5-4D4A-A956-E827921CE006}"/>
          </ac:spMkLst>
        </pc:spChg>
      </pc:sldChg>
      <pc:sldChg chg="new del">
        <pc:chgData name="Tongtong Wang" userId="5026a17a-445d-4aa4-bcd4-da2975ecf913" providerId="ADAL" clId="{70E5CDF1-562D-4874-8C20-2EC47FA2ECB3}" dt="2022-09-05T08:27:51.400" v="554" actId="47"/>
        <pc:sldMkLst>
          <pc:docMk/>
          <pc:sldMk cId="2753789998" sldId="589"/>
        </pc:sldMkLst>
      </pc:sldChg>
      <pc:sldChg chg="addSp delSp modSp add mod delAnim modNotesTx">
        <pc:chgData name="Tongtong Wang" userId="5026a17a-445d-4aa4-bcd4-da2975ecf913" providerId="ADAL" clId="{70E5CDF1-562D-4874-8C20-2EC47FA2ECB3}" dt="2022-09-05T08:30:52.922" v="589" actId="1076"/>
        <pc:sldMkLst>
          <pc:docMk/>
          <pc:sldMk cId="1571574437" sldId="590"/>
        </pc:sldMkLst>
        <pc:spChg chg="mod">
          <ac:chgData name="Tongtong Wang" userId="5026a17a-445d-4aa4-bcd4-da2975ecf913" providerId="ADAL" clId="{70E5CDF1-562D-4874-8C20-2EC47FA2ECB3}" dt="2022-09-05T08:28:15.833" v="581" actId="20577"/>
          <ac:spMkLst>
            <pc:docMk/>
            <pc:sldMk cId="1571574437" sldId="590"/>
            <ac:spMk id="7" creationId="{63991A79-2DF5-4987-8986-F8B6237BF2C9}"/>
          </ac:spMkLst>
        </pc:spChg>
        <pc:picChg chg="del">
          <ac:chgData name="Tongtong Wang" userId="5026a17a-445d-4aa4-bcd4-da2975ecf913" providerId="ADAL" clId="{70E5CDF1-562D-4874-8C20-2EC47FA2ECB3}" dt="2022-09-05T08:28:19.238" v="582" actId="478"/>
          <ac:picMkLst>
            <pc:docMk/>
            <pc:sldMk cId="1571574437" sldId="590"/>
            <ac:picMk id="3" creationId="{5EC236E6-7ED4-4A9E-8824-37724A27718F}"/>
          </ac:picMkLst>
        </pc:picChg>
        <pc:picChg chg="add mod">
          <ac:chgData name="Tongtong Wang" userId="5026a17a-445d-4aa4-bcd4-da2975ecf913" providerId="ADAL" clId="{70E5CDF1-562D-4874-8C20-2EC47FA2ECB3}" dt="2022-09-05T08:30:52.922" v="589" actId="1076"/>
          <ac:picMkLst>
            <pc:docMk/>
            <pc:sldMk cId="1571574437" sldId="590"/>
            <ac:picMk id="4" creationId="{B66E7767-7672-40B4-9FA3-55D6A1B06252}"/>
          </ac:picMkLst>
        </pc:picChg>
      </pc:sldChg>
      <pc:sldChg chg="delSp modSp add mod delAnim">
        <pc:chgData name="Tongtong Wang" userId="5026a17a-445d-4aa4-bcd4-da2975ecf913" providerId="ADAL" clId="{70E5CDF1-562D-4874-8C20-2EC47FA2ECB3}" dt="2022-09-05T08:33:41.511" v="819" actId="478"/>
        <pc:sldMkLst>
          <pc:docMk/>
          <pc:sldMk cId="3653645898" sldId="591"/>
        </pc:sldMkLst>
        <pc:spChg chg="mod">
          <ac:chgData name="Tongtong Wang" userId="5026a17a-445d-4aa4-bcd4-da2975ecf913" providerId="ADAL" clId="{70E5CDF1-562D-4874-8C20-2EC47FA2ECB3}" dt="2022-09-05T08:32:46.463" v="818" actId="404"/>
          <ac:spMkLst>
            <pc:docMk/>
            <pc:sldMk cId="3653645898" sldId="591"/>
            <ac:spMk id="7" creationId="{63991A79-2DF5-4987-8986-F8B6237BF2C9}"/>
          </ac:spMkLst>
        </pc:spChg>
        <pc:spChg chg="del">
          <ac:chgData name="Tongtong Wang" userId="5026a17a-445d-4aa4-bcd4-da2975ecf913" providerId="ADAL" clId="{70E5CDF1-562D-4874-8C20-2EC47FA2ECB3}" dt="2022-09-05T08:33:41.511" v="819" actId="478"/>
          <ac:spMkLst>
            <pc:docMk/>
            <pc:sldMk cId="3653645898" sldId="591"/>
            <ac:spMk id="11" creationId="{071F40DB-EE7C-4169-A97B-73FBB6D94C3F}"/>
          </ac:spMkLst>
        </pc:spChg>
        <pc:spChg chg="del">
          <ac:chgData name="Tongtong Wang" userId="5026a17a-445d-4aa4-bcd4-da2975ecf913" providerId="ADAL" clId="{70E5CDF1-562D-4874-8C20-2EC47FA2ECB3}" dt="2022-09-05T08:31:08.227" v="593" actId="478"/>
          <ac:spMkLst>
            <pc:docMk/>
            <pc:sldMk cId="3653645898" sldId="591"/>
            <ac:spMk id="12" creationId="{98E34724-A5A5-4D4A-A956-E827921CE006}"/>
          </ac:spMkLst>
        </pc:spChg>
        <pc:picChg chg="del">
          <ac:chgData name="Tongtong Wang" userId="5026a17a-445d-4aa4-bcd4-da2975ecf913" providerId="ADAL" clId="{70E5CDF1-562D-4874-8C20-2EC47FA2ECB3}" dt="2022-09-05T08:31:05.644" v="592" actId="478"/>
          <ac:picMkLst>
            <pc:docMk/>
            <pc:sldMk cId="3653645898" sldId="591"/>
            <ac:picMk id="10" creationId="{A4727755-90FE-4D9D-AA34-9AB6BFE67E3D}"/>
          </ac:picMkLst>
        </pc:picChg>
      </pc:sldChg>
      <pc:sldChg chg="addSp delSp modSp add mod delAnim modAnim">
        <pc:chgData name="Tongtong Wang" userId="5026a17a-445d-4aa4-bcd4-da2975ecf913" providerId="ADAL" clId="{70E5CDF1-562D-4874-8C20-2EC47FA2ECB3}" dt="2022-09-05T09:01:12.699" v="1023"/>
        <pc:sldMkLst>
          <pc:docMk/>
          <pc:sldMk cId="2676135912" sldId="592"/>
        </pc:sldMkLst>
        <pc:spChg chg="add mod">
          <ac:chgData name="Tongtong Wang" userId="5026a17a-445d-4aa4-bcd4-da2975ecf913" providerId="ADAL" clId="{70E5CDF1-562D-4874-8C20-2EC47FA2ECB3}" dt="2022-09-05T08:59:56.250" v="973" actId="1076"/>
          <ac:spMkLst>
            <pc:docMk/>
            <pc:sldMk cId="2676135912" sldId="592"/>
            <ac:spMk id="13" creationId="{98C99FC6-ABEE-4EB4-AF9E-32A02074C705}"/>
          </ac:spMkLst>
        </pc:spChg>
        <pc:spChg chg="add mod">
          <ac:chgData name="Tongtong Wang" userId="5026a17a-445d-4aa4-bcd4-da2975ecf913" providerId="ADAL" clId="{70E5CDF1-562D-4874-8C20-2EC47FA2ECB3}" dt="2022-09-05T08:59:52.823" v="972" actId="14100"/>
          <ac:spMkLst>
            <pc:docMk/>
            <pc:sldMk cId="2676135912" sldId="592"/>
            <ac:spMk id="15" creationId="{AABEDB1E-3DE6-4CFD-93A0-E6E7189223EF}"/>
          </ac:spMkLst>
        </pc:spChg>
        <pc:spChg chg="add mod">
          <ac:chgData name="Tongtong Wang" userId="5026a17a-445d-4aa4-bcd4-da2975ecf913" providerId="ADAL" clId="{70E5CDF1-562D-4874-8C20-2EC47FA2ECB3}" dt="2022-09-05T08:57:57.555" v="958" actId="20577"/>
          <ac:spMkLst>
            <pc:docMk/>
            <pc:sldMk cId="2676135912" sldId="592"/>
            <ac:spMk id="16" creationId="{E779AC4F-962E-4FE4-926A-13196498E728}"/>
          </ac:spMkLst>
        </pc:spChg>
        <pc:spChg chg="add mod">
          <ac:chgData name="Tongtong Wang" userId="5026a17a-445d-4aa4-bcd4-da2975ecf913" providerId="ADAL" clId="{70E5CDF1-562D-4874-8C20-2EC47FA2ECB3}" dt="2022-09-05T08:57:10.913" v="947" actId="20577"/>
          <ac:spMkLst>
            <pc:docMk/>
            <pc:sldMk cId="2676135912" sldId="592"/>
            <ac:spMk id="17" creationId="{774C9CCF-8533-4965-AF62-7FC94D0D8842}"/>
          </ac:spMkLst>
        </pc:spChg>
        <pc:spChg chg="add mod">
          <ac:chgData name="Tongtong Wang" userId="5026a17a-445d-4aa4-bcd4-da2975ecf913" providerId="ADAL" clId="{70E5CDF1-562D-4874-8C20-2EC47FA2ECB3}" dt="2022-09-05T09:00:39.671" v="996" actId="14100"/>
          <ac:spMkLst>
            <pc:docMk/>
            <pc:sldMk cId="2676135912" sldId="592"/>
            <ac:spMk id="18" creationId="{3F893C94-A5A1-4F3C-9083-B86DC2DB5079}"/>
          </ac:spMkLst>
        </pc:spChg>
        <pc:spChg chg="add mod">
          <ac:chgData name="Tongtong Wang" userId="5026a17a-445d-4aa4-bcd4-da2975ecf913" providerId="ADAL" clId="{70E5CDF1-562D-4874-8C20-2EC47FA2ECB3}" dt="2022-09-05T09:00:59.769" v="1022" actId="20577"/>
          <ac:spMkLst>
            <pc:docMk/>
            <pc:sldMk cId="2676135912" sldId="592"/>
            <ac:spMk id="19" creationId="{7661BC01-3AC6-45BB-A7BF-6EDFDD0EBE95}"/>
          </ac:spMkLst>
        </pc:spChg>
        <pc:picChg chg="del">
          <ac:chgData name="Tongtong Wang" userId="5026a17a-445d-4aa4-bcd4-da2975ecf913" providerId="ADAL" clId="{70E5CDF1-562D-4874-8C20-2EC47FA2ECB3}" dt="2022-09-05T08:42:46.387" v="823" actId="478"/>
          <ac:picMkLst>
            <pc:docMk/>
            <pc:sldMk cId="2676135912" sldId="592"/>
            <ac:picMk id="2" creationId="{EC0EF263-910F-44B6-A4D5-5BA5B455C5C1}"/>
          </ac:picMkLst>
        </pc:picChg>
        <pc:picChg chg="add mod">
          <ac:chgData name="Tongtong Wang" userId="5026a17a-445d-4aa4-bcd4-da2975ecf913" providerId="ADAL" clId="{70E5CDF1-562D-4874-8C20-2EC47FA2ECB3}" dt="2022-09-05T08:59:45.911" v="970" actId="14100"/>
          <ac:picMkLst>
            <pc:docMk/>
            <pc:sldMk cId="2676135912" sldId="592"/>
            <ac:picMk id="4" creationId="{DB010889-BA8E-4202-BB4E-966615939D06}"/>
          </ac:picMkLst>
        </pc:picChg>
        <pc:picChg chg="add mod">
          <ac:chgData name="Tongtong Wang" userId="5026a17a-445d-4aa4-bcd4-da2975ecf913" providerId="ADAL" clId="{70E5CDF1-562D-4874-8C20-2EC47FA2ECB3}" dt="2022-09-05T08:59:56.250" v="973" actId="1076"/>
          <ac:picMkLst>
            <pc:docMk/>
            <pc:sldMk cId="2676135912" sldId="592"/>
            <ac:picMk id="6" creationId="{9ADDB621-76A4-4822-B8E7-00E330CE06E0}"/>
          </ac:picMkLst>
        </pc:picChg>
      </pc:sldChg>
      <pc:sldChg chg="addSp delSp modSp add mod delAnim modAnim">
        <pc:chgData name="Tongtong Wang" userId="5026a17a-445d-4aa4-bcd4-da2975ecf913" providerId="ADAL" clId="{70E5CDF1-562D-4874-8C20-2EC47FA2ECB3}" dt="2022-09-05T08:54:40.082" v="936" actId="1076"/>
        <pc:sldMkLst>
          <pc:docMk/>
          <pc:sldMk cId="3091550277" sldId="593"/>
        </pc:sldMkLst>
        <pc:spChg chg="mod">
          <ac:chgData name="Tongtong Wang" userId="5026a17a-445d-4aa4-bcd4-da2975ecf913" providerId="ADAL" clId="{70E5CDF1-562D-4874-8C20-2EC47FA2ECB3}" dt="2022-09-05T08:53:16.126" v="907" actId="20577"/>
          <ac:spMkLst>
            <pc:docMk/>
            <pc:sldMk cId="3091550277" sldId="593"/>
            <ac:spMk id="7" creationId="{63991A79-2DF5-4987-8986-F8B6237BF2C9}"/>
          </ac:spMkLst>
        </pc:spChg>
        <pc:spChg chg="del mod">
          <ac:chgData name="Tongtong Wang" userId="5026a17a-445d-4aa4-bcd4-da2975ecf913" providerId="ADAL" clId="{70E5CDF1-562D-4874-8C20-2EC47FA2ECB3}" dt="2022-09-05T08:50:43.559" v="886" actId="478"/>
          <ac:spMkLst>
            <pc:docMk/>
            <pc:sldMk cId="3091550277" sldId="593"/>
            <ac:spMk id="13" creationId="{98C99FC6-ABEE-4EB4-AF9E-32A02074C705}"/>
          </ac:spMkLst>
        </pc:spChg>
        <pc:spChg chg="mod">
          <ac:chgData name="Tongtong Wang" userId="5026a17a-445d-4aa4-bcd4-da2975ecf913" providerId="ADAL" clId="{70E5CDF1-562D-4874-8C20-2EC47FA2ECB3}" dt="2022-09-05T08:54:38.082" v="935" actId="1076"/>
          <ac:spMkLst>
            <pc:docMk/>
            <pc:sldMk cId="3091550277" sldId="593"/>
            <ac:spMk id="15" creationId="{AABEDB1E-3DE6-4CFD-93A0-E6E7189223EF}"/>
          </ac:spMkLst>
        </pc:spChg>
        <pc:spChg chg="add mod">
          <ac:chgData name="Tongtong Wang" userId="5026a17a-445d-4aa4-bcd4-da2975ecf913" providerId="ADAL" clId="{70E5CDF1-562D-4874-8C20-2EC47FA2ECB3}" dt="2022-09-05T08:53:58.812" v="922" actId="1076"/>
          <ac:spMkLst>
            <pc:docMk/>
            <pc:sldMk cId="3091550277" sldId="593"/>
            <ac:spMk id="16" creationId="{BB017672-9B55-41BB-AE9E-82A455F6F835}"/>
          </ac:spMkLst>
        </pc:spChg>
        <pc:spChg chg="add mod">
          <ac:chgData name="Tongtong Wang" userId="5026a17a-445d-4aa4-bcd4-da2975ecf913" providerId="ADAL" clId="{70E5CDF1-562D-4874-8C20-2EC47FA2ECB3}" dt="2022-09-05T08:53:55.104" v="921" actId="20577"/>
          <ac:spMkLst>
            <pc:docMk/>
            <pc:sldMk cId="3091550277" sldId="593"/>
            <ac:spMk id="18" creationId="{90BF9B7A-8F84-47E9-8808-5309BC7A01E2}"/>
          </ac:spMkLst>
        </pc:spChg>
        <pc:spChg chg="add mod">
          <ac:chgData name="Tongtong Wang" userId="5026a17a-445d-4aa4-bcd4-da2975ecf913" providerId="ADAL" clId="{70E5CDF1-562D-4874-8C20-2EC47FA2ECB3}" dt="2022-09-05T08:54:40.082" v="936" actId="1076"/>
          <ac:spMkLst>
            <pc:docMk/>
            <pc:sldMk cId="3091550277" sldId="593"/>
            <ac:spMk id="20" creationId="{79196EA6-CB89-416D-99D4-B5937BE1CB81}"/>
          </ac:spMkLst>
        </pc:spChg>
        <pc:picChg chg="add mod">
          <ac:chgData name="Tongtong Wang" userId="5026a17a-445d-4aa4-bcd4-da2975ecf913" providerId="ADAL" clId="{70E5CDF1-562D-4874-8C20-2EC47FA2ECB3}" dt="2022-09-05T08:54:11.352" v="927" actId="1076"/>
          <ac:picMkLst>
            <pc:docMk/>
            <pc:sldMk cId="3091550277" sldId="593"/>
            <ac:picMk id="3" creationId="{F4AA1C41-FE00-4DFD-87AF-43E09D1344F4}"/>
          </ac:picMkLst>
        </pc:picChg>
        <pc:picChg chg="del">
          <ac:chgData name="Tongtong Wang" userId="5026a17a-445d-4aa4-bcd4-da2975ecf913" providerId="ADAL" clId="{70E5CDF1-562D-4874-8C20-2EC47FA2ECB3}" dt="2022-09-05T08:45:59.886" v="860" actId="478"/>
          <ac:picMkLst>
            <pc:docMk/>
            <pc:sldMk cId="3091550277" sldId="593"/>
            <ac:picMk id="4" creationId="{DB010889-BA8E-4202-BB4E-966615939D06}"/>
          </ac:picMkLst>
        </pc:picChg>
        <pc:picChg chg="del">
          <ac:chgData name="Tongtong Wang" userId="5026a17a-445d-4aa4-bcd4-da2975ecf913" providerId="ADAL" clId="{70E5CDF1-562D-4874-8C20-2EC47FA2ECB3}" dt="2022-09-05T08:45:59.331" v="859" actId="478"/>
          <ac:picMkLst>
            <pc:docMk/>
            <pc:sldMk cId="3091550277" sldId="593"/>
            <ac:picMk id="6" creationId="{9ADDB621-76A4-4822-B8E7-00E330CE06E0}"/>
          </ac:picMkLst>
        </pc:picChg>
        <pc:picChg chg="add del mod">
          <ac:chgData name="Tongtong Wang" userId="5026a17a-445d-4aa4-bcd4-da2975ecf913" providerId="ADAL" clId="{70E5CDF1-562D-4874-8C20-2EC47FA2ECB3}" dt="2022-09-05T08:50:39.669" v="884" actId="478"/>
          <ac:picMkLst>
            <pc:docMk/>
            <pc:sldMk cId="3091550277" sldId="593"/>
            <ac:picMk id="8" creationId="{1EB4B0EC-0570-480F-8571-55BF19F064BF}"/>
          </ac:picMkLst>
        </pc:picChg>
        <pc:picChg chg="add mod">
          <ac:chgData name="Tongtong Wang" userId="5026a17a-445d-4aa4-bcd4-da2975ecf913" providerId="ADAL" clId="{70E5CDF1-562D-4874-8C20-2EC47FA2ECB3}" dt="2022-09-05T08:54:24.817" v="930" actId="1076"/>
          <ac:picMkLst>
            <pc:docMk/>
            <pc:sldMk cId="3091550277" sldId="593"/>
            <ac:picMk id="19" creationId="{AD4BF6C4-57E1-4054-A2A7-78725D075BD6}"/>
          </ac:picMkLst>
        </pc:picChg>
      </pc:sldChg>
      <pc:sldChg chg="modSp add del mod">
        <pc:chgData name="Tongtong Wang" userId="5026a17a-445d-4aa4-bcd4-da2975ecf913" providerId="ADAL" clId="{70E5CDF1-562D-4874-8C20-2EC47FA2ECB3}" dt="2022-09-05T08:55:07.853" v="937" actId="47"/>
        <pc:sldMkLst>
          <pc:docMk/>
          <pc:sldMk cId="2352687433" sldId="594"/>
        </pc:sldMkLst>
        <pc:spChg chg="mod">
          <ac:chgData name="Tongtong Wang" userId="5026a17a-445d-4aa4-bcd4-da2975ecf913" providerId="ADAL" clId="{70E5CDF1-562D-4874-8C20-2EC47FA2ECB3}" dt="2022-09-05T08:54:29.140" v="931" actId="1076"/>
          <ac:spMkLst>
            <pc:docMk/>
            <pc:sldMk cId="2352687433" sldId="594"/>
            <ac:spMk id="15" creationId="{AABEDB1E-3DE6-4CFD-93A0-E6E7189223EF}"/>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2CFED46-6D01-4D3B-859E-E734F5F8FC9A}"/>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733B1906-5BC2-4DF2-80F4-78F5CA8C597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DA6E97A-F905-4D56-B736-2E21CF6B1A9A}" type="datetimeFigureOut">
              <a:rPr lang="en-US" smtClean="0"/>
              <a:t>9/5/2022</a:t>
            </a:fld>
            <a:endParaRPr lang="en-US"/>
          </a:p>
        </p:txBody>
      </p:sp>
      <p:sp>
        <p:nvSpPr>
          <p:cNvPr id="4" name="Footer Placeholder 3">
            <a:extLst>
              <a:ext uri="{FF2B5EF4-FFF2-40B4-BE49-F238E27FC236}">
                <a16:creationId xmlns:a16="http://schemas.microsoft.com/office/drawing/2014/main" id="{0C00FD5E-E0B7-4833-B5B2-91EA68E91EA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r>
              <a:rPr lang="en-US"/>
              <a:t>asdasdasd</a:t>
            </a:r>
          </a:p>
        </p:txBody>
      </p:sp>
      <p:sp>
        <p:nvSpPr>
          <p:cNvPr id="5" name="Slide Number Placeholder 4">
            <a:extLst>
              <a:ext uri="{FF2B5EF4-FFF2-40B4-BE49-F238E27FC236}">
                <a16:creationId xmlns:a16="http://schemas.microsoft.com/office/drawing/2014/main" id="{18976E92-EFD5-41BC-AAAF-015132CAEA33}"/>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D58D571-CBF2-4CE3-B877-467DD784F97D}" type="slidenum">
              <a:rPr lang="en-US" smtClean="0"/>
              <a:t>‹#›</a:t>
            </a:fld>
            <a:endParaRPr lang="en-US"/>
          </a:p>
        </p:txBody>
      </p:sp>
    </p:spTree>
    <p:extLst>
      <p:ext uri="{BB962C8B-B14F-4D97-AF65-F5344CB8AC3E}">
        <p14:creationId xmlns:p14="http://schemas.microsoft.com/office/powerpoint/2010/main" val="1533727295"/>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DF347DE-B39C-4F48-A4DA-22382F99CD42}" type="datetimeFigureOut">
              <a:rPr lang="en-US" smtClean="0"/>
              <a:t>9/5/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r>
              <a:rPr lang="en-US"/>
              <a:t>asdasdasd</a:t>
            </a: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371EE1D-63D4-4EB8-8767-0D9156C73A0E}" type="slidenum">
              <a:rPr lang="en-US" smtClean="0"/>
              <a:t>‹#›</a:t>
            </a:fld>
            <a:endParaRPr lang="en-US"/>
          </a:p>
        </p:txBody>
      </p:sp>
    </p:spTree>
    <p:extLst>
      <p:ext uri="{BB962C8B-B14F-4D97-AF65-F5344CB8AC3E}">
        <p14:creationId xmlns:p14="http://schemas.microsoft.com/office/powerpoint/2010/main" val="874779319"/>
      </p:ext>
    </p:extLst>
  </p:cSld>
  <p:clrMap bg1="lt1" tx1="dk1" bg2="lt2" tx2="dk2" accent1="accent1" accent2="accent2" accent3="accent3" accent4="accent4" accent5="accent5" accent6="accent6" hlink="hlink" folHlink="folHlink"/>
  <p:hf hdr="0" dt="0"/>
  <p:notesStyle>
    <a:lvl1pPr marL="0" algn="l" defTabSz="1219170" rtl="0" eaLnBrk="1" latinLnBrk="0" hangingPunct="1">
      <a:defRPr sz="1600" kern="1200">
        <a:solidFill>
          <a:schemeClr val="tx1"/>
        </a:solidFill>
        <a:latin typeface="+mn-lt"/>
        <a:ea typeface="+mn-ea"/>
        <a:cs typeface="+mn-cs"/>
      </a:defRPr>
    </a:lvl1pPr>
    <a:lvl2pPr marL="609585" algn="l" defTabSz="1219170" rtl="0" eaLnBrk="1" latinLnBrk="0" hangingPunct="1">
      <a:defRPr sz="1600" kern="1200">
        <a:solidFill>
          <a:schemeClr val="tx1"/>
        </a:solidFill>
        <a:latin typeface="+mn-lt"/>
        <a:ea typeface="+mn-ea"/>
        <a:cs typeface="+mn-cs"/>
      </a:defRPr>
    </a:lvl2pPr>
    <a:lvl3pPr marL="1219170" algn="l" defTabSz="1219170" rtl="0" eaLnBrk="1" latinLnBrk="0" hangingPunct="1">
      <a:defRPr sz="1600" kern="1200">
        <a:solidFill>
          <a:schemeClr val="tx1"/>
        </a:solidFill>
        <a:latin typeface="+mn-lt"/>
        <a:ea typeface="+mn-ea"/>
        <a:cs typeface="+mn-cs"/>
      </a:defRPr>
    </a:lvl3pPr>
    <a:lvl4pPr marL="1828754" algn="l" defTabSz="1219170" rtl="0" eaLnBrk="1" latinLnBrk="0" hangingPunct="1">
      <a:defRPr sz="1600" kern="1200">
        <a:solidFill>
          <a:schemeClr val="tx1"/>
        </a:solidFill>
        <a:latin typeface="+mn-lt"/>
        <a:ea typeface="+mn-ea"/>
        <a:cs typeface="+mn-cs"/>
      </a:defRPr>
    </a:lvl4pPr>
    <a:lvl5pPr marL="2438339" algn="l" defTabSz="1219170" rtl="0" eaLnBrk="1" latinLnBrk="0" hangingPunct="1">
      <a:defRPr sz="1600" kern="1200">
        <a:solidFill>
          <a:schemeClr val="tx1"/>
        </a:solidFill>
        <a:latin typeface="+mn-lt"/>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www.youtube.com/watch?v=iVS-AuSjpOQ" TargetMode="External"/><Relationship Id="rId2" Type="http://schemas.openxmlformats.org/officeDocument/2006/relationships/slide" Target="../slides/slide8.xml"/><Relationship Id="rId1" Type="http://schemas.openxmlformats.org/officeDocument/2006/relationships/notesMaster" Target="../notesMasters/notesMaster1.xml"/><Relationship Id="rId4" Type="http://schemas.openxmlformats.org/officeDocument/2006/relationships/hyperlink" Target="https://www.youtube.com/watch?v=PJLCDbTZl80" TargetMode="Externa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en-US" sz="1600" noProof="0" dirty="0">
              <a:latin typeface="Arial" panose="020B0604020202020204" pitchFamily="34" charset="0"/>
              <a:cs typeface="Arial" panose="020B0604020202020204" pitchFamily="34" charset="0"/>
            </a:endParaRPr>
          </a:p>
        </p:txBody>
      </p:sp>
      <p:sp>
        <p:nvSpPr>
          <p:cNvPr id="4" name="Plassholder for lysbildenummer 3"/>
          <p:cNvSpPr>
            <a:spLocks noGrp="1"/>
          </p:cNvSpPr>
          <p:nvPr>
            <p:ph type="sldNum" sz="quarter" idx="10"/>
          </p:nvPr>
        </p:nvSpPr>
        <p:spPr/>
        <p:txBody>
          <a:bodyPr/>
          <a:lstStyle/>
          <a:p>
            <a:fld id="{E371EE1D-63D4-4EB8-8767-0D9156C73A0E}" type="slidenum">
              <a:rPr lang="en-US" smtClean="0"/>
              <a:t>1</a:t>
            </a:fld>
            <a:endParaRPr lang="en-US" dirty="0"/>
          </a:p>
        </p:txBody>
      </p:sp>
      <p:sp>
        <p:nvSpPr>
          <p:cNvPr id="5" name="Footer Placeholder 4">
            <a:extLst>
              <a:ext uri="{FF2B5EF4-FFF2-40B4-BE49-F238E27FC236}">
                <a16:creationId xmlns:a16="http://schemas.microsoft.com/office/drawing/2014/main" id="{C5CCFB98-811F-49DE-A9DC-11591A5C08C3}"/>
              </a:ext>
            </a:extLst>
          </p:cNvPr>
          <p:cNvSpPr>
            <a:spLocks noGrp="1"/>
          </p:cNvSpPr>
          <p:nvPr>
            <p:ph type="ftr" sz="quarter" idx="4"/>
          </p:nvPr>
        </p:nvSpPr>
        <p:spPr/>
        <p:txBody>
          <a:bodyPr/>
          <a:lstStyle/>
          <a:p>
            <a:r>
              <a:rPr lang="en-US"/>
              <a:t>asdasdasd</a:t>
            </a:r>
          </a:p>
        </p:txBody>
      </p:sp>
    </p:spTree>
    <p:extLst>
      <p:ext uri="{BB962C8B-B14F-4D97-AF65-F5344CB8AC3E}">
        <p14:creationId xmlns:p14="http://schemas.microsoft.com/office/powerpoint/2010/main" val="93910037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dirty="0"/>
              <a:t>Ref: </a:t>
            </a:r>
            <a:r>
              <a:rPr lang="en-US" b="0" i="0" dirty="0">
                <a:effectLst/>
                <a:latin typeface="Arial" panose="020B0604020202020204" pitchFamily="34" charset="0"/>
              </a:rPr>
              <a:t>Digital Twin in Industry: State-of-the-art</a:t>
            </a:r>
            <a:endParaRPr lang="en-GB" dirty="0"/>
          </a:p>
          <a:p>
            <a:pPr marL="0" marR="0" lvl="0" indent="0" algn="l" defTabSz="1219170" rtl="0" eaLnBrk="1" fontAlgn="auto" latinLnBrk="0" hangingPunct="1">
              <a:lnSpc>
                <a:spcPct val="100000"/>
              </a:lnSpc>
              <a:spcBef>
                <a:spcPts val="0"/>
              </a:spcBef>
              <a:spcAft>
                <a:spcPts val="0"/>
              </a:spcAft>
              <a:buClrTx/>
              <a:buSzTx/>
              <a:buFontTx/>
              <a:buNone/>
              <a:tabLst/>
              <a:defRPr/>
            </a:pPr>
            <a:endParaRPr lang="en-US" sz="1600" dirty="0">
              <a:latin typeface="Arial" panose="020B0604020202020204" pitchFamily="34" charset="0"/>
              <a:cs typeface="Arial" panose="020B0604020202020204" pitchFamily="34" charset="0"/>
            </a:endParaRPr>
          </a:p>
          <a:p>
            <a:endParaRPr lang="en-GB" noProof="0" dirty="0"/>
          </a:p>
        </p:txBody>
      </p:sp>
      <p:sp>
        <p:nvSpPr>
          <p:cNvPr id="4" name="Plassholder for lysbildenummer 3"/>
          <p:cNvSpPr>
            <a:spLocks noGrp="1"/>
          </p:cNvSpPr>
          <p:nvPr>
            <p:ph type="sldNum" sz="quarter" idx="5"/>
          </p:nvPr>
        </p:nvSpPr>
        <p:spPr/>
        <p:txBody>
          <a:bodyPr/>
          <a:lstStyle/>
          <a:p>
            <a:fld id="{E371EE1D-63D4-4EB8-8767-0D9156C73A0E}" type="slidenum">
              <a:rPr lang="en-US" smtClean="0"/>
              <a:t>10</a:t>
            </a:fld>
            <a:endParaRPr lang="en-US"/>
          </a:p>
        </p:txBody>
      </p:sp>
      <p:sp>
        <p:nvSpPr>
          <p:cNvPr id="5" name="Footer Placeholder 4">
            <a:extLst>
              <a:ext uri="{FF2B5EF4-FFF2-40B4-BE49-F238E27FC236}">
                <a16:creationId xmlns:a16="http://schemas.microsoft.com/office/drawing/2014/main" id="{AEFA70A0-CFCF-42DE-BCFD-CB98F6A85D81}"/>
              </a:ext>
            </a:extLst>
          </p:cNvPr>
          <p:cNvSpPr>
            <a:spLocks noGrp="1"/>
          </p:cNvSpPr>
          <p:nvPr>
            <p:ph type="ftr" sz="quarter" idx="4"/>
          </p:nvPr>
        </p:nvSpPr>
        <p:spPr/>
        <p:txBody>
          <a:bodyPr/>
          <a:lstStyle/>
          <a:p>
            <a:r>
              <a:rPr lang="en-US"/>
              <a:t>asdasdasd</a:t>
            </a:r>
          </a:p>
        </p:txBody>
      </p:sp>
    </p:spTree>
    <p:extLst>
      <p:ext uri="{BB962C8B-B14F-4D97-AF65-F5344CB8AC3E}">
        <p14:creationId xmlns:p14="http://schemas.microsoft.com/office/powerpoint/2010/main" val="24163984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nb-NO" sz="1600" dirty="0">
              <a:latin typeface="Arial" panose="020B0604020202020204" pitchFamily="34" charset="0"/>
              <a:cs typeface="Arial" panose="020B0604020202020204" pitchFamily="34" charset="0"/>
            </a:endParaRPr>
          </a:p>
          <a:p>
            <a:pPr marL="0" marR="0" lvl="0" indent="0" algn="l" defTabSz="1219170" rtl="0" eaLnBrk="1" fontAlgn="auto" latinLnBrk="0" hangingPunct="1">
              <a:lnSpc>
                <a:spcPct val="100000"/>
              </a:lnSpc>
              <a:spcBef>
                <a:spcPts val="0"/>
              </a:spcBef>
              <a:spcAft>
                <a:spcPts val="0"/>
              </a:spcAft>
              <a:buClrTx/>
              <a:buSzTx/>
              <a:buFontTx/>
              <a:buNone/>
              <a:tabLst/>
              <a:defRPr/>
            </a:pPr>
            <a:endParaRPr lang="en-US" sz="1600" dirty="0">
              <a:latin typeface="Arial" panose="020B0604020202020204" pitchFamily="34" charset="0"/>
              <a:cs typeface="Arial" panose="020B0604020202020204" pitchFamily="34" charset="0"/>
            </a:endParaRPr>
          </a:p>
          <a:p>
            <a:endParaRPr lang="en-GB" noProof="0" dirty="0"/>
          </a:p>
        </p:txBody>
      </p:sp>
      <p:sp>
        <p:nvSpPr>
          <p:cNvPr id="4" name="Plassholder for lysbildenummer 3"/>
          <p:cNvSpPr>
            <a:spLocks noGrp="1"/>
          </p:cNvSpPr>
          <p:nvPr>
            <p:ph type="sldNum" sz="quarter" idx="5"/>
          </p:nvPr>
        </p:nvSpPr>
        <p:spPr/>
        <p:txBody>
          <a:bodyPr/>
          <a:lstStyle/>
          <a:p>
            <a:fld id="{E371EE1D-63D4-4EB8-8767-0D9156C73A0E}" type="slidenum">
              <a:rPr lang="en-US" smtClean="0"/>
              <a:t>11</a:t>
            </a:fld>
            <a:endParaRPr lang="en-US"/>
          </a:p>
        </p:txBody>
      </p:sp>
      <p:sp>
        <p:nvSpPr>
          <p:cNvPr id="5" name="Footer Placeholder 4">
            <a:extLst>
              <a:ext uri="{FF2B5EF4-FFF2-40B4-BE49-F238E27FC236}">
                <a16:creationId xmlns:a16="http://schemas.microsoft.com/office/drawing/2014/main" id="{AEFA70A0-CFCF-42DE-BCFD-CB98F6A85D81}"/>
              </a:ext>
            </a:extLst>
          </p:cNvPr>
          <p:cNvSpPr>
            <a:spLocks noGrp="1"/>
          </p:cNvSpPr>
          <p:nvPr>
            <p:ph type="ftr" sz="quarter" idx="4"/>
          </p:nvPr>
        </p:nvSpPr>
        <p:spPr/>
        <p:txBody>
          <a:bodyPr/>
          <a:lstStyle/>
          <a:p>
            <a:r>
              <a:rPr lang="en-US"/>
              <a:t>asdasdasd</a:t>
            </a:r>
          </a:p>
        </p:txBody>
      </p:sp>
    </p:spTree>
    <p:extLst>
      <p:ext uri="{BB962C8B-B14F-4D97-AF65-F5344CB8AC3E}">
        <p14:creationId xmlns:p14="http://schemas.microsoft.com/office/powerpoint/2010/main" val="353155937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dirty="0"/>
              <a:t>Ref: </a:t>
            </a:r>
            <a:r>
              <a:rPr lang="en-GB" dirty="0">
                <a:effectLst/>
              </a:rPr>
              <a:t>Digital Twin for maintenance: A literature review</a:t>
            </a:r>
            <a:endParaRPr lang="en-GB" dirty="0"/>
          </a:p>
          <a:p>
            <a:pPr marL="0" marR="0" lvl="0" indent="0" algn="l" defTabSz="1219170" rtl="0" eaLnBrk="1" fontAlgn="auto" latinLnBrk="0" hangingPunct="1">
              <a:lnSpc>
                <a:spcPct val="100000"/>
              </a:lnSpc>
              <a:spcBef>
                <a:spcPts val="0"/>
              </a:spcBef>
              <a:spcAft>
                <a:spcPts val="0"/>
              </a:spcAft>
              <a:buClrTx/>
              <a:buSzTx/>
              <a:buFontTx/>
              <a:buNone/>
              <a:tabLst/>
              <a:defRPr/>
            </a:pPr>
            <a:endParaRPr lang="nb-NO" sz="1600" dirty="0">
              <a:latin typeface="Arial" panose="020B0604020202020204" pitchFamily="34" charset="0"/>
              <a:cs typeface="Arial" panose="020B0604020202020204" pitchFamily="34" charset="0"/>
            </a:endParaRPr>
          </a:p>
          <a:p>
            <a:pPr marL="0" marR="0" lvl="0" indent="0" algn="l" defTabSz="1219170" rtl="0" eaLnBrk="1" fontAlgn="auto" latinLnBrk="0" hangingPunct="1">
              <a:lnSpc>
                <a:spcPct val="100000"/>
              </a:lnSpc>
              <a:spcBef>
                <a:spcPts val="0"/>
              </a:spcBef>
              <a:spcAft>
                <a:spcPts val="0"/>
              </a:spcAft>
              <a:buClrTx/>
              <a:buSzTx/>
              <a:buFontTx/>
              <a:buNone/>
              <a:tabLst/>
              <a:defRPr/>
            </a:pPr>
            <a:endParaRPr lang="en-US" sz="1600" dirty="0">
              <a:latin typeface="Arial" panose="020B0604020202020204" pitchFamily="34" charset="0"/>
              <a:cs typeface="Arial" panose="020B0604020202020204" pitchFamily="34" charset="0"/>
            </a:endParaRPr>
          </a:p>
          <a:p>
            <a:endParaRPr lang="en-GB" noProof="0" dirty="0"/>
          </a:p>
        </p:txBody>
      </p:sp>
      <p:sp>
        <p:nvSpPr>
          <p:cNvPr id="4" name="Plassholder for lysbildenummer 3"/>
          <p:cNvSpPr>
            <a:spLocks noGrp="1"/>
          </p:cNvSpPr>
          <p:nvPr>
            <p:ph type="sldNum" sz="quarter" idx="5"/>
          </p:nvPr>
        </p:nvSpPr>
        <p:spPr/>
        <p:txBody>
          <a:bodyPr/>
          <a:lstStyle/>
          <a:p>
            <a:fld id="{E371EE1D-63D4-4EB8-8767-0D9156C73A0E}" type="slidenum">
              <a:rPr lang="en-US" smtClean="0"/>
              <a:t>12</a:t>
            </a:fld>
            <a:endParaRPr lang="en-US"/>
          </a:p>
        </p:txBody>
      </p:sp>
      <p:sp>
        <p:nvSpPr>
          <p:cNvPr id="5" name="Footer Placeholder 4">
            <a:extLst>
              <a:ext uri="{FF2B5EF4-FFF2-40B4-BE49-F238E27FC236}">
                <a16:creationId xmlns:a16="http://schemas.microsoft.com/office/drawing/2014/main" id="{AEFA70A0-CFCF-42DE-BCFD-CB98F6A85D81}"/>
              </a:ext>
            </a:extLst>
          </p:cNvPr>
          <p:cNvSpPr>
            <a:spLocks noGrp="1"/>
          </p:cNvSpPr>
          <p:nvPr>
            <p:ph type="ftr" sz="quarter" idx="4"/>
          </p:nvPr>
        </p:nvSpPr>
        <p:spPr/>
        <p:txBody>
          <a:bodyPr/>
          <a:lstStyle/>
          <a:p>
            <a:r>
              <a:rPr lang="en-US"/>
              <a:t>asdasdasd</a:t>
            </a:r>
          </a:p>
        </p:txBody>
      </p:sp>
    </p:spTree>
    <p:extLst>
      <p:ext uri="{BB962C8B-B14F-4D97-AF65-F5344CB8AC3E}">
        <p14:creationId xmlns:p14="http://schemas.microsoft.com/office/powerpoint/2010/main" val="148933933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nb-NO" sz="1600" dirty="0">
              <a:latin typeface="Arial" panose="020B0604020202020204" pitchFamily="34" charset="0"/>
              <a:cs typeface="Arial" panose="020B0604020202020204" pitchFamily="34" charset="0"/>
            </a:endParaRPr>
          </a:p>
          <a:p>
            <a:pPr marL="0" marR="0" lvl="0" indent="0" algn="l" defTabSz="1219170" rtl="0" eaLnBrk="1" fontAlgn="auto" latinLnBrk="0" hangingPunct="1">
              <a:lnSpc>
                <a:spcPct val="100000"/>
              </a:lnSpc>
              <a:spcBef>
                <a:spcPts val="0"/>
              </a:spcBef>
              <a:spcAft>
                <a:spcPts val="0"/>
              </a:spcAft>
              <a:buClrTx/>
              <a:buSzTx/>
              <a:buFontTx/>
              <a:buNone/>
              <a:tabLst/>
              <a:defRPr/>
            </a:pPr>
            <a:endParaRPr lang="en-US" sz="1600" dirty="0">
              <a:latin typeface="Arial" panose="020B0604020202020204" pitchFamily="34" charset="0"/>
              <a:cs typeface="Arial" panose="020B0604020202020204" pitchFamily="34" charset="0"/>
            </a:endParaRPr>
          </a:p>
          <a:p>
            <a:endParaRPr lang="en-GB" noProof="0" dirty="0"/>
          </a:p>
        </p:txBody>
      </p:sp>
      <p:sp>
        <p:nvSpPr>
          <p:cNvPr id="4" name="Plassholder for lysbildenummer 3"/>
          <p:cNvSpPr>
            <a:spLocks noGrp="1"/>
          </p:cNvSpPr>
          <p:nvPr>
            <p:ph type="sldNum" sz="quarter" idx="5"/>
          </p:nvPr>
        </p:nvSpPr>
        <p:spPr/>
        <p:txBody>
          <a:bodyPr/>
          <a:lstStyle/>
          <a:p>
            <a:fld id="{E371EE1D-63D4-4EB8-8767-0D9156C73A0E}" type="slidenum">
              <a:rPr lang="en-US" smtClean="0"/>
              <a:t>13</a:t>
            </a:fld>
            <a:endParaRPr lang="en-US"/>
          </a:p>
        </p:txBody>
      </p:sp>
      <p:sp>
        <p:nvSpPr>
          <p:cNvPr id="5" name="Footer Placeholder 4">
            <a:extLst>
              <a:ext uri="{FF2B5EF4-FFF2-40B4-BE49-F238E27FC236}">
                <a16:creationId xmlns:a16="http://schemas.microsoft.com/office/drawing/2014/main" id="{AEFA70A0-CFCF-42DE-BCFD-CB98F6A85D81}"/>
              </a:ext>
            </a:extLst>
          </p:cNvPr>
          <p:cNvSpPr>
            <a:spLocks noGrp="1"/>
          </p:cNvSpPr>
          <p:nvPr>
            <p:ph type="ftr" sz="quarter" idx="4"/>
          </p:nvPr>
        </p:nvSpPr>
        <p:spPr/>
        <p:txBody>
          <a:bodyPr/>
          <a:lstStyle/>
          <a:p>
            <a:r>
              <a:rPr lang="en-US"/>
              <a:t>asdasdasd</a:t>
            </a:r>
          </a:p>
        </p:txBody>
      </p:sp>
    </p:spTree>
    <p:extLst>
      <p:ext uri="{BB962C8B-B14F-4D97-AF65-F5344CB8AC3E}">
        <p14:creationId xmlns:p14="http://schemas.microsoft.com/office/powerpoint/2010/main" val="40114822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nb-NO" sz="1600" dirty="0">
                <a:latin typeface="Arial" panose="020B0604020202020204" pitchFamily="34" charset="0"/>
                <a:cs typeface="Arial" panose="020B0604020202020204" pitchFamily="34" charset="0"/>
              </a:rPr>
              <a:t>&lt;</a:t>
            </a:r>
            <a:r>
              <a:rPr lang="en-US" dirty="0"/>
              <a:t>The Use of a Data-Driven Digital Twin of a Smart City: A Case Study of Ålesund, Norway</a:t>
            </a:r>
            <a:r>
              <a:rPr lang="nb-NO" sz="1600" dirty="0">
                <a:latin typeface="Arial" panose="020B0604020202020204" pitchFamily="34" charset="0"/>
                <a:cs typeface="Arial" panose="020B0604020202020204" pitchFamily="34" charset="0"/>
              </a:rPr>
              <a:t>&gt;</a:t>
            </a:r>
          </a:p>
          <a:p>
            <a:pPr marL="0" marR="0" lvl="0" indent="0" algn="l" defTabSz="1219170" rtl="0" eaLnBrk="1" fontAlgn="auto" latinLnBrk="0" hangingPunct="1">
              <a:lnSpc>
                <a:spcPct val="100000"/>
              </a:lnSpc>
              <a:spcBef>
                <a:spcPts val="0"/>
              </a:spcBef>
              <a:spcAft>
                <a:spcPts val="0"/>
              </a:spcAft>
              <a:buClrTx/>
              <a:buSzTx/>
              <a:buFontTx/>
              <a:buNone/>
              <a:tabLst/>
              <a:defRPr/>
            </a:pPr>
            <a:endParaRPr lang="en-US" sz="1600" dirty="0">
              <a:latin typeface="Arial" panose="020B0604020202020204" pitchFamily="34" charset="0"/>
              <a:cs typeface="Arial" panose="020B0604020202020204" pitchFamily="34" charset="0"/>
            </a:endParaRPr>
          </a:p>
          <a:p>
            <a:endParaRPr lang="en-GB" noProof="0" dirty="0"/>
          </a:p>
        </p:txBody>
      </p:sp>
      <p:sp>
        <p:nvSpPr>
          <p:cNvPr id="4" name="Plassholder for lysbildenummer 3"/>
          <p:cNvSpPr>
            <a:spLocks noGrp="1"/>
          </p:cNvSpPr>
          <p:nvPr>
            <p:ph type="sldNum" sz="quarter" idx="5"/>
          </p:nvPr>
        </p:nvSpPr>
        <p:spPr/>
        <p:txBody>
          <a:bodyPr/>
          <a:lstStyle/>
          <a:p>
            <a:fld id="{E371EE1D-63D4-4EB8-8767-0D9156C73A0E}" type="slidenum">
              <a:rPr lang="en-US" smtClean="0"/>
              <a:t>14</a:t>
            </a:fld>
            <a:endParaRPr lang="en-US"/>
          </a:p>
        </p:txBody>
      </p:sp>
      <p:sp>
        <p:nvSpPr>
          <p:cNvPr id="5" name="Footer Placeholder 4">
            <a:extLst>
              <a:ext uri="{FF2B5EF4-FFF2-40B4-BE49-F238E27FC236}">
                <a16:creationId xmlns:a16="http://schemas.microsoft.com/office/drawing/2014/main" id="{AEFA70A0-CFCF-42DE-BCFD-CB98F6A85D81}"/>
              </a:ext>
            </a:extLst>
          </p:cNvPr>
          <p:cNvSpPr>
            <a:spLocks noGrp="1"/>
          </p:cNvSpPr>
          <p:nvPr>
            <p:ph type="ftr" sz="quarter" idx="4"/>
          </p:nvPr>
        </p:nvSpPr>
        <p:spPr/>
        <p:txBody>
          <a:bodyPr/>
          <a:lstStyle/>
          <a:p>
            <a:r>
              <a:rPr lang="en-US"/>
              <a:t>asdasdasd</a:t>
            </a:r>
          </a:p>
        </p:txBody>
      </p:sp>
    </p:spTree>
    <p:extLst>
      <p:ext uri="{BB962C8B-B14F-4D97-AF65-F5344CB8AC3E}">
        <p14:creationId xmlns:p14="http://schemas.microsoft.com/office/powerpoint/2010/main" val="232436339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nb-NO" sz="1600" dirty="0">
                <a:latin typeface="Arial" panose="020B0604020202020204" pitchFamily="34" charset="0"/>
                <a:cs typeface="Arial" panose="020B0604020202020204" pitchFamily="34" charset="0"/>
              </a:rPr>
              <a:t>&lt;</a:t>
            </a:r>
            <a:r>
              <a:rPr lang="en-US" dirty="0"/>
              <a:t>The Use of a Data-Driven Digital Twin of a Smart City: A Case Study of Ålesund, Norway</a:t>
            </a:r>
            <a:r>
              <a:rPr lang="nb-NO" sz="1600" dirty="0">
                <a:latin typeface="Arial" panose="020B0604020202020204" pitchFamily="34" charset="0"/>
                <a:cs typeface="Arial" panose="020B0604020202020204" pitchFamily="34" charset="0"/>
              </a:rPr>
              <a:t>&gt;</a:t>
            </a:r>
          </a:p>
          <a:p>
            <a:pPr marL="0" marR="0" lvl="0" indent="0" algn="l" defTabSz="1219170" rtl="0" eaLnBrk="1" fontAlgn="auto" latinLnBrk="0" hangingPunct="1">
              <a:lnSpc>
                <a:spcPct val="100000"/>
              </a:lnSpc>
              <a:spcBef>
                <a:spcPts val="0"/>
              </a:spcBef>
              <a:spcAft>
                <a:spcPts val="0"/>
              </a:spcAft>
              <a:buClrTx/>
              <a:buSzTx/>
              <a:buFontTx/>
              <a:buNone/>
              <a:tabLst/>
              <a:defRPr/>
            </a:pPr>
            <a:endParaRPr lang="en-US" sz="1600" dirty="0">
              <a:latin typeface="Arial" panose="020B0604020202020204" pitchFamily="34" charset="0"/>
              <a:cs typeface="Arial" panose="020B0604020202020204" pitchFamily="34" charset="0"/>
            </a:endParaRPr>
          </a:p>
          <a:p>
            <a:endParaRPr lang="en-GB" noProof="0" dirty="0"/>
          </a:p>
        </p:txBody>
      </p:sp>
      <p:sp>
        <p:nvSpPr>
          <p:cNvPr id="4" name="Plassholder for lysbildenummer 3"/>
          <p:cNvSpPr>
            <a:spLocks noGrp="1"/>
          </p:cNvSpPr>
          <p:nvPr>
            <p:ph type="sldNum" sz="quarter" idx="5"/>
          </p:nvPr>
        </p:nvSpPr>
        <p:spPr/>
        <p:txBody>
          <a:bodyPr/>
          <a:lstStyle/>
          <a:p>
            <a:fld id="{E371EE1D-63D4-4EB8-8767-0D9156C73A0E}" type="slidenum">
              <a:rPr lang="en-US" smtClean="0"/>
              <a:t>15</a:t>
            </a:fld>
            <a:endParaRPr lang="en-US"/>
          </a:p>
        </p:txBody>
      </p:sp>
      <p:sp>
        <p:nvSpPr>
          <p:cNvPr id="5" name="Footer Placeholder 4">
            <a:extLst>
              <a:ext uri="{FF2B5EF4-FFF2-40B4-BE49-F238E27FC236}">
                <a16:creationId xmlns:a16="http://schemas.microsoft.com/office/drawing/2014/main" id="{AEFA70A0-CFCF-42DE-BCFD-CB98F6A85D81}"/>
              </a:ext>
            </a:extLst>
          </p:cNvPr>
          <p:cNvSpPr>
            <a:spLocks noGrp="1"/>
          </p:cNvSpPr>
          <p:nvPr>
            <p:ph type="ftr" sz="quarter" idx="4"/>
          </p:nvPr>
        </p:nvSpPr>
        <p:spPr/>
        <p:txBody>
          <a:bodyPr/>
          <a:lstStyle/>
          <a:p>
            <a:r>
              <a:rPr lang="en-US"/>
              <a:t>asdasdasd</a:t>
            </a:r>
          </a:p>
        </p:txBody>
      </p:sp>
    </p:spTree>
    <p:extLst>
      <p:ext uri="{BB962C8B-B14F-4D97-AF65-F5344CB8AC3E}">
        <p14:creationId xmlns:p14="http://schemas.microsoft.com/office/powerpoint/2010/main" val="110939615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nb-NO" sz="1600" dirty="0">
              <a:latin typeface="Arial" panose="020B0604020202020204" pitchFamily="34" charset="0"/>
              <a:cs typeface="Arial" panose="020B0604020202020204" pitchFamily="34" charset="0"/>
            </a:endParaRPr>
          </a:p>
          <a:p>
            <a:pPr marL="0" marR="0" lvl="0" indent="0" algn="l" defTabSz="1219170" rtl="0" eaLnBrk="1" fontAlgn="auto" latinLnBrk="0" hangingPunct="1">
              <a:lnSpc>
                <a:spcPct val="100000"/>
              </a:lnSpc>
              <a:spcBef>
                <a:spcPts val="0"/>
              </a:spcBef>
              <a:spcAft>
                <a:spcPts val="0"/>
              </a:spcAft>
              <a:buClrTx/>
              <a:buSzTx/>
              <a:buFontTx/>
              <a:buNone/>
              <a:tabLst/>
              <a:defRPr/>
            </a:pPr>
            <a:endParaRPr lang="en-US" sz="1600" dirty="0">
              <a:latin typeface="Arial" panose="020B0604020202020204" pitchFamily="34" charset="0"/>
              <a:cs typeface="Arial" panose="020B0604020202020204" pitchFamily="34" charset="0"/>
            </a:endParaRPr>
          </a:p>
          <a:p>
            <a:endParaRPr lang="en-GB" noProof="0" dirty="0"/>
          </a:p>
        </p:txBody>
      </p:sp>
      <p:sp>
        <p:nvSpPr>
          <p:cNvPr id="4" name="Plassholder for lysbildenummer 3"/>
          <p:cNvSpPr>
            <a:spLocks noGrp="1"/>
          </p:cNvSpPr>
          <p:nvPr>
            <p:ph type="sldNum" sz="quarter" idx="5"/>
          </p:nvPr>
        </p:nvSpPr>
        <p:spPr/>
        <p:txBody>
          <a:bodyPr/>
          <a:lstStyle/>
          <a:p>
            <a:fld id="{E371EE1D-63D4-4EB8-8767-0D9156C73A0E}" type="slidenum">
              <a:rPr lang="en-US" smtClean="0"/>
              <a:t>16</a:t>
            </a:fld>
            <a:endParaRPr lang="en-US"/>
          </a:p>
        </p:txBody>
      </p:sp>
      <p:sp>
        <p:nvSpPr>
          <p:cNvPr id="5" name="Footer Placeholder 4">
            <a:extLst>
              <a:ext uri="{FF2B5EF4-FFF2-40B4-BE49-F238E27FC236}">
                <a16:creationId xmlns:a16="http://schemas.microsoft.com/office/drawing/2014/main" id="{AEFA70A0-CFCF-42DE-BCFD-CB98F6A85D81}"/>
              </a:ext>
            </a:extLst>
          </p:cNvPr>
          <p:cNvSpPr>
            <a:spLocks noGrp="1"/>
          </p:cNvSpPr>
          <p:nvPr>
            <p:ph type="ftr" sz="quarter" idx="4"/>
          </p:nvPr>
        </p:nvSpPr>
        <p:spPr/>
        <p:txBody>
          <a:bodyPr/>
          <a:lstStyle/>
          <a:p>
            <a:r>
              <a:rPr lang="en-US"/>
              <a:t>asdasdasd</a:t>
            </a:r>
          </a:p>
        </p:txBody>
      </p:sp>
    </p:spTree>
    <p:extLst>
      <p:ext uri="{BB962C8B-B14F-4D97-AF65-F5344CB8AC3E}">
        <p14:creationId xmlns:p14="http://schemas.microsoft.com/office/powerpoint/2010/main" val="277227056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nb-NO" sz="1600" dirty="0">
              <a:latin typeface="Arial" panose="020B0604020202020204" pitchFamily="34" charset="0"/>
              <a:cs typeface="Arial" panose="020B0604020202020204" pitchFamily="34" charset="0"/>
            </a:endParaRPr>
          </a:p>
          <a:p>
            <a:pPr marL="0" marR="0" lvl="0" indent="0" algn="l" defTabSz="1219170" rtl="0" eaLnBrk="1" fontAlgn="auto" latinLnBrk="0" hangingPunct="1">
              <a:lnSpc>
                <a:spcPct val="100000"/>
              </a:lnSpc>
              <a:spcBef>
                <a:spcPts val="0"/>
              </a:spcBef>
              <a:spcAft>
                <a:spcPts val="0"/>
              </a:spcAft>
              <a:buClrTx/>
              <a:buSzTx/>
              <a:buFontTx/>
              <a:buNone/>
              <a:tabLst/>
              <a:defRPr/>
            </a:pPr>
            <a:endParaRPr lang="en-US" sz="1600" dirty="0">
              <a:latin typeface="Arial" panose="020B0604020202020204" pitchFamily="34" charset="0"/>
              <a:cs typeface="Arial" panose="020B0604020202020204" pitchFamily="34" charset="0"/>
            </a:endParaRPr>
          </a:p>
          <a:p>
            <a:endParaRPr lang="en-GB" noProof="0" dirty="0"/>
          </a:p>
        </p:txBody>
      </p:sp>
      <p:sp>
        <p:nvSpPr>
          <p:cNvPr id="4" name="Plassholder for lysbildenummer 3"/>
          <p:cNvSpPr>
            <a:spLocks noGrp="1"/>
          </p:cNvSpPr>
          <p:nvPr>
            <p:ph type="sldNum" sz="quarter" idx="5"/>
          </p:nvPr>
        </p:nvSpPr>
        <p:spPr/>
        <p:txBody>
          <a:bodyPr/>
          <a:lstStyle/>
          <a:p>
            <a:fld id="{E371EE1D-63D4-4EB8-8767-0D9156C73A0E}" type="slidenum">
              <a:rPr lang="en-US" smtClean="0"/>
              <a:t>17</a:t>
            </a:fld>
            <a:endParaRPr lang="en-US"/>
          </a:p>
        </p:txBody>
      </p:sp>
      <p:sp>
        <p:nvSpPr>
          <p:cNvPr id="5" name="Footer Placeholder 4">
            <a:extLst>
              <a:ext uri="{FF2B5EF4-FFF2-40B4-BE49-F238E27FC236}">
                <a16:creationId xmlns:a16="http://schemas.microsoft.com/office/drawing/2014/main" id="{AEFA70A0-CFCF-42DE-BCFD-CB98F6A85D81}"/>
              </a:ext>
            </a:extLst>
          </p:cNvPr>
          <p:cNvSpPr>
            <a:spLocks noGrp="1"/>
          </p:cNvSpPr>
          <p:nvPr>
            <p:ph type="ftr" sz="quarter" idx="4"/>
          </p:nvPr>
        </p:nvSpPr>
        <p:spPr/>
        <p:txBody>
          <a:bodyPr/>
          <a:lstStyle/>
          <a:p>
            <a:r>
              <a:rPr lang="en-US"/>
              <a:t>asdasdasd</a:t>
            </a:r>
          </a:p>
        </p:txBody>
      </p:sp>
    </p:spTree>
    <p:extLst>
      <p:ext uri="{BB962C8B-B14F-4D97-AF65-F5344CB8AC3E}">
        <p14:creationId xmlns:p14="http://schemas.microsoft.com/office/powerpoint/2010/main" val="44771531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dirty="0"/>
              <a:t>Figure 1 shows how the physical system ”twins” with the digital representation through intercommunicating with online sensor condition monitoring.</a:t>
            </a:r>
            <a:endParaRPr lang="nb-NO" sz="1600" dirty="0">
              <a:latin typeface="Arial" panose="020B0604020202020204" pitchFamily="34" charset="0"/>
              <a:cs typeface="Arial" panose="020B0604020202020204" pitchFamily="34" charset="0"/>
            </a:endParaRPr>
          </a:p>
          <a:p>
            <a:pPr marL="0" marR="0" lvl="0" indent="0" algn="l" defTabSz="1219170" rtl="0" eaLnBrk="1" fontAlgn="auto" latinLnBrk="0" hangingPunct="1">
              <a:lnSpc>
                <a:spcPct val="100000"/>
              </a:lnSpc>
              <a:spcBef>
                <a:spcPts val="0"/>
              </a:spcBef>
              <a:spcAft>
                <a:spcPts val="0"/>
              </a:spcAft>
              <a:buClrTx/>
              <a:buSzTx/>
              <a:buFontTx/>
              <a:buNone/>
              <a:tabLst/>
              <a:defRPr/>
            </a:pPr>
            <a:endParaRPr lang="en-US" sz="1600" dirty="0">
              <a:latin typeface="Arial" panose="020B0604020202020204" pitchFamily="34" charset="0"/>
              <a:cs typeface="Arial" panose="020B0604020202020204" pitchFamily="34" charset="0"/>
            </a:endParaRPr>
          </a:p>
          <a:p>
            <a:endParaRPr lang="en-GB" noProof="0" dirty="0"/>
          </a:p>
        </p:txBody>
      </p:sp>
      <p:sp>
        <p:nvSpPr>
          <p:cNvPr id="4" name="Plassholder for lysbildenummer 3"/>
          <p:cNvSpPr>
            <a:spLocks noGrp="1"/>
          </p:cNvSpPr>
          <p:nvPr>
            <p:ph type="sldNum" sz="quarter" idx="5"/>
          </p:nvPr>
        </p:nvSpPr>
        <p:spPr/>
        <p:txBody>
          <a:bodyPr/>
          <a:lstStyle/>
          <a:p>
            <a:fld id="{E371EE1D-63D4-4EB8-8767-0D9156C73A0E}" type="slidenum">
              <a:rPr lang="en-US" smtClean="0"/>
              <a:t>18</a:t>
            </a:fld>
            <a:endParaRPr lang="en-US"/>
          </a:p>
        </p:txBody>
      </p:sp>
      <p:sp>
        <p:nvSpPr>
          <p:cNvPr id="5" name="Footer Placeholder 4">
            <a:extLst>
              <a:ext uri="{FF2B5EF4-FFF2-40B4-BE49-F238E27FC236}">
                <a16:creationId xmlns:a16="http://schemas.microsoft.com/office/drawing/2014/main" id="{AEFA70A0-CFCF-42DE-BCFD-CB98F6A85D81}"/>
              </a:ext>
            </a:extLst>
          </p:cNvPr>
          <p:cNvSpPr>
            <a:spLocks noGrp="1"/>
          </p:cNvSpPr>
          <p:nvPr>
            <p:ph type="ftr" sz="quarter" idx="4"/>
          </p:nvPr>
        </p:nvSpPr>
        <p:spPr/>
        <p:txBody>
          <a:bodyPr/>
          <a:lstStyle/>
          <a:p>
            <a:r>
              <a:rPr lang="en-US"/>
              <a:t>asdasdasd</a:t>
            </a:r>
          </a:p>
        </p:txBody>
      </p:sp>
    </p:spTree>
    <p:extLst>
      <p:ext uri="{BB962C8B-B14F-4D97-AF65-F5344CB8AC3E}">
        <p14:creationId xmlns:p14="http://schemas.microsoft.com/office/powerpoint/2010/main" val="120931175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nb-NO" sz="1600" dirty="0">
              <a:latin typeface="Arial" panose="020B0604020202020204" pitchFamily="34" charset="0"/>
              <a:cs typeface="Arial" panose="020B0604020202020204" pitchFamily="34" charset="0"/>
            </a:endParaRPr>
          </a:p>
          <a:p>
            <a:pPr marL="0" marR="0" lvl="0" indent="0" algn="l" defTabSz="1219170" rtl="0" eaLnBrk="1" fontAlgn="auto" latinLnBrk="0" hangingPunct="1">
              <a:lnSpc>
                <a:spcPct val="100000"/>
              </a:lnSpc>
              <a:spcBef>
                <a:spcPts val="0"/>
              </a:spcBef>
              <a:spcAft>
                <a:spcPts val="0"/>
              </a:spcAft>
              <a:buClrTx/>
              <a:buSzTx/>
              <a:buFontTx/>
              <a:buNone/>
              <a:tabLst/>
              <a:defRPr/>
            </a:pPr>
            <a:endParaRPr lang="en-US" sz="1600" dirty="0">
              <a:latin typeface="Arial" panose="020B0604020202020204" pitchFamily="34" charset="0"/>
              <a:cs typeface="Arial" panose="020B0604020202020204" pitchFamily="34" charset="0"/>
            </a:endParaRPr>
          </a:p>
          <a:p>
            <a:endParaRPr lang="en-GB" noProof="0" dirty="0"/>
          </a:p>
        </p:txBody>
      </p:sp>
      <p:sp>
        <p:nvSpPr>
          <p:cNvPr id="4" name="Plassholder for lysbildenummer 3"/>
          <p:cNvSpPr>
            <a:spLocks noGrp="1"/>
          </p:cNvSpPr>
          <p:nvPr>
            <p:ph type="sldNum" sz="quarter" idx="5"/>
          </p:nvPr>
        </p:nvSpPr>
        <p:spPr/>
        <p:txBody>
          <a:bodyPr/>
          <a:lstStyle/>
          <a:p>
            <a:fld id="{E371EE1D-63D4-4EB8-8767-0D9156C73A0E}" type="slidenum">
              <a:rPr lang="en-US" smtClean="0"/>
              <a:t>19</a:t>
            </a:fld>
            <a:endParaRPr lang="en-US"/>
          </a:p>
        </p:txBody>
      </p:sp>
      <p:sp>
        <p:nvSpPr>
          <p:cNvPr id="5" name="Footer Placeholder 4">
            <a:extLst>
              <a:ext uri="{FF2B5EF4-FFF2-40B4-BE49-F238E27FC236}">
                <a16:creationId xmlns:a16="http://schemas.microsoft.com/office/drawing/2014/main" id="{AEFA70A0-CFCF-42DE-BCFD-CB98F6A85D81}"/>
              </a:ext>
            </a:extLst>
          </p:cNvPr>
          <p:cNvSpPr>
            <a:spLocks noGrp="1"/>
          </p:cNvSpPr>
          <p:nvPr>
            <p:ph type="ftr" sz="quarter" idx="4"/>
          </p:nvPr>
        </p:nvSpPr>
        <p:spPr/>
        <p:txBody>
          <a:bodyPr/>
          <a:lstStyle/>
          <a:p>
            <a:r>
              <a:rPr lang="en-US"/>
              <a:t>asdasdasd</a:t>
            </a:r>
          </a:p>
        </p:txBody>
      </p:sp>
    </p:spTree>
    <p:extLst>
      <p:ext uri="{BB962C8B-B14F-4D97-AF65-F5344CB8AC3E}">
        <p14:creationId xmlns:p14="http://schemas.microsoft.com/office/powerpoint/2010/main" val="9712050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en-GB" noProof="0" dirty="0"/>
          </a:p>
        </p:txBody>
      </p:sp>
      <p:sp>
        <p:nvSpPr>
          <p:cNvPr id="4" name="Plassholder for lysbildenummer 3"/>
          <p:cNvSpPr>
            <a:spLocks noGrp="1"/>
          </p:cNvSpPr>
          <p:nvPr>
            <p:ph type="sldNum" sz="quarter" idx="5"/>
          </p:nvPr>
        </p:nvSpPr>
        <p:spPr/>
        <p:txBody>
          <a:bodyPr/>
          <a:lstStyle/>
          <a:p>
            <a:fld id="{E371EE1D-63D4-4EB8-8767-0D9156C73A0E}" type="slidenum">
              <a:rPr lang="en-US" smtClean="0"/>
              <a:t>2</a:t>
            </a:fld>
            <a:endParaRPr lang="en-US"/>
          </a:p>
        </p:txBody>
      </p:sp>
      <p:sp>
        <p:nvSpPr>
          <p:cNvPr id="5" name="Footer Placeholder 4">
            <a:extLst>
              <a:ext uri="{FF2B5EF4-FFF2-40B4-BE49-F238E27FC236}">
                <a16:creationId xmlns:a16="http://schemas.microsoft.com/office/drawing/2014/main" id="{1676135A-B808-4DEA-A444-71DA4AF59EC0}"/>
              </a:ext>
            </a:extLst>
          </p:cNvPr>
          <p:cNvSpPr>
            <a:spLocks noGrp="1"/>
          </p:cNvSpPr>
          <p:nvPr>
            <p:ph type="ftr" sz="quarter" idx="4"/>
          </p:nvPr>
        </p:nvSpPr>
        <p:spPr/>
        <p:txBody>
          <a:bodyPr/>
          <a:lstStyle/>
          <a:p>
            <a:r>
              <a:rPr lang="en-US"/>
              <a:t>asdasdasd</a:t>
            </a:r>
          </a:p>
        </p:txBody>
      </p:sp>
    </p:spTree>
    <p:extLst>
      <p:ext uri="{BB962C8B-B14F-4D97-AF65-F5344CB8AC3E}">
        <p14:creationId xmlns:p14="http://schemas.microsoft.com/office/powerpoint/2010/main" val="48928331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nb-NO" sz="1600" dirty="0">
              <a:latin typeface="Arial" panose="020B0604020202020204" pitchFamily="34" charset="0"/>
              <a:cs typeface="Arial" panose="020B0604020202020204" pitchFamily="34" charset="0"/>
            </a:endParaRPr>
          </a:p>
          <a:p>
            <a:pPr marL="0" marR="0" lvl="0" indent="0" algn="l" defTabSz="1219170" rtl="0" eaLnBrk="1" fontAlgn="auto" latinLnBrk="0" hangingPunct="1">
              <a:lnSpc>
                <a:spcPct val="100000"/>
              </a:lnSpc>
              <a:spcBef>
                <a:spcPts val="0"/>
              </a:spcBef>
              <a:spcAft>
                <a:spcPts val="0"/>
              </a:spcAft>
              <a:buClrTx/>
              <a:buSzTx/>
              <a:buFontTx/>
              <a:buNone/>
              <a:tabLst/>
              <a:defRPr/>
            </a:pPr>
            <a:endParaRPr lang="en-US" sz="1600" dirty="0">
              <a:latin typeface="Arial" panose="020B0604020202020204" pitchFamily="34" charset="0"/>
              <a:cs typeface="Arial" panose="020B0604020202020204" pitchFamily="34" charset="0"/>
            </a:endParaRPr>
          </a:p>
          <a:p>
            <a:endParaRPr lang="en-GB" noProof="0" dirty="0"/>
          </a:p>
        </p:txBody>
      </p:sp>
      <p:sp>
        <p:nvSpPr>
          <p:cNvPr id="4" name="Plassholder for lysbildenummer 3"/>
          <p:cNvSpPr>
            <a:spLocks noGrp="1"/>
          </p:cNvSpPr>
          <p:nvPr>
            <p:ph type="sldNum" sz="quarter" idx="5"/>
          </p:nvPr>
        </p:nvSpPr>
        <p:spPr/>
        <p:txBody>
          <a:bodyPr/>
          <a:lstStyle/>
          <a:p>
            <a:fld id="{E371EE1D-63D4-4EB8-8767-0D9156C73A0E}" type="slidenum">
              <a:rPr lang="en-US" smtClean="0"/>
              <a:t>20</a:t>
            </a:fld>
            <a:endParaRPr lang="en-US"/>
          </a:p>
        </p:txBody>
      </p:sp>
      <p:sp>
        <p:nvSpPr>
          <p:cNvPr id="5" name="Footer Placeholder 4">
            <a:extLst>
              <a:ext uri="{FF2B5EF4-FFF2-40B4-BE49-F238E27FC236}">
                <a16:creationId xmlns:a16="http://schemas.microsoft.com/office/drawing/2014/main" id="{AEFA70A0-CFCF-42DE-BCFD-CB98F6A85D81}"/>
              </a:ext>
            </a:extLst>
          </p:cNvPr>
          <p:cNvSpPr>
            <a:spLocks noGrp="1"/>
          </p:cNvSpPr>
          <p:nvPr>
            <p:ph type="ftr" sz="quarter" idx="4"/>
          </p:nvPr>
        </p:nvSpPr>
        <p:spPr/>
        <p:txBody>
          <a:bodyPr/>
          <a:lstStyle/>
          <a:p>
            <a:r>
              <a:rPr lang="en-US"/>
              <a:t>asdasdasd</a:t>
            </a:r>
          </a:p>
        </p:txBody>
      </p:sp>
    </p:spTree>
    <p:extLst>
      <p:ext uri="{BB962C8B-B14F-4D97-AF65-F5344CB8AC3E}">
        <p14:creationId xmlns:p14="http://schemas.microsoft.com/office/powerpoint/2010/main" val="63229475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nb-NO" sz="1600" dirty="0">
              <a:latin typeface="Arial" panose="020B0604020202020204" pitchFamily="34" charset="0"/>
              <a:cs typeface="Arial" panose="020B0604020202020204" pitchFamily="34" charset="0"/>
            </a:endParaRPr>
          </a:p>
          <a:p>
            <a:pPr marL="0" marR="0" lvl="0" indent="0" algn="l" defTabSz="1219170" rtl="0" eaLnBrk="1" fontAlgn="auto" latinLnBrk="0" hangingPunct="1">
              <a:lnSpc>
                <a:spcPct val="100000"/>
              </a:lnSpc>
              <a:spcBef>
                <a:spcPts val="0"/>
              </a:spcBef>
              <a:spcAft>
                <a:spcPts val="0"/>
              </a:spcAft>
              <a:buClrTx/>
              <a:buSzTx/>
              <a:buFontTx/>
              <a:buNone/>
              <a:tabLst/>
              <a:defRPr/>
            </a:pPr>
            <a:endParaRPr lang="en-US" sz="1600" dirty="0">
              <a:latin typeface="Arial" panose="020B0604020202020204" pitchFamily="34" charset="0"/>
              <a:cs typeface="Arial" panose="020B0604020202020204" pitchFamily="34" charset="0"/>
            </a:endParaRPr>
          </a:p>
          <a:p>
            <a:endParaRPr lang="en-GB" noProof="0" dirty="0"/>
          </a:p>
        </p:txBody>
      </p:sp>
      <p:sp>
        <p:nvSpPr>
          <p:cNvPr id="4" name="Plassholder for lysbildenummer 3"/>
          <p:cNvSpPr>
            <a:spLocks noGrp="1"/>
          </p:cNvSpPr>
          <p:nvPr>
            <p:ph type="sldNum" sz="quarter" idx="5"/>
          </p:nvPr>
        </p:nvSpPr>
        <p:spPr/>
        <p:txBody>
          <a:bodyPr/>
          <a:lstStyle/>
          <a:p>
            <a:fld id="{E371EE1D-63D4-4EB8-8767-0D9156C73A0E}" type="slidenum">
              <a:rPr lang="en-US" smtClean="0"/>
              <a:t>21</a:t>
            </a:fld>
            <a:endParaRPr lang="en-US"/>
          </a:p>
        </p:txBody>
      </p:sp>
      <p:sp>
        <p:nvSpPr>
          <p:cNvPr id="5" name="Footer Placeholder 4">
            <a:extLst>
              <a:ext uri="{FF2B5EF4-FFF2-40B4-BE49-F238E27FC236}">
                <a16:creationId xmlns:a16="http://schemas.microsoft.com/office/drawing/2014/main" id="{AEFA70A0-CFCF-42DE-BCFD-CB98F6A85D81}"/>
              </a:ext>
            </a:extLst>
          </p:cNvPr>
          <p:cNvSpPr>
            <a:spLocks noGrp="1"/>
          </p:cNvSpPr>
          <p:nvPr>
            <p:ph type="ftr" sz="quarter" idx="4"/>
          </p:nvPr>
        </p:nvSpPr>
        <p:spPr/>
        <p:txBody>
          <a:bodyPr/>
          <a:lstStyle/>
          <a:p>
            <a:r>
              <a:rPr lang="en-US"/>
              <a:t>asdasdasd</a:t>
            </a:r>
          </a:p>
        </p:txBody>
      </p:sp>
    </p:spTree>
    <p:extLst>
      <p:ext uri="{BB962C8B-B14F-4D97-AF65-F5344CB8AC3E}">
        <p14:creationId xmlns:p14="http://schemas.microsoft.com/office/powerpoint/2010/main" val="14133891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b="1" i="1" dirty="0">
                <a:solidFill>
                  <a:srgbClr val="4DA736"/>
                </a:solidFill>
                <a:effectLst/>
                <a:latin typeface="Roboto" panose="02000000000000000000" pitchFamily="2" charset="0"/>
              </a:rPr>
              <a:t>Note:</a:t>
            </a:r>
            <a:r>
              <a:rPr lang="en-US" b="0" i="0" dirty="0">
                <a:solidFill>
                  <a:srgbClr val="000000"/>
                </a:solidFill>
                <a:effectLst/>
                <a:latin typeface="Roboto" panose="02000000000000000000" pitchFamily="2" charset="0"/>
              </a:rPr>
              <a:t> Product Design is never a linear process. It always has feedback loops which bring back changes in the design requiring previous stages to be redone. This implies that the prototyping used for that design stage also has to be updated as per changes in the design.</a:t>
            </a:r>
          </a:p>
          <a:p>
            <a:pPr marL="0" marR="0" lvl="0" indent="0" algn="l" defTabSz="1219170" rtl="0" eaLnBrk="1" fontAlgn="auto" latinLnBrk="0" hangingPunct="1">
              <a:lnSpc>
                <a:spcPct val="100000"/>
              </a:lnSpc>
              <a:spcBef>
                <a:spcPts val="0"/>
              </a:spcBef>
              <a:spcAft>
                <a:spcPts val="0"/>
              </a:spcAft>
              <a:buClrTx/>
              <a:buSzTx/>
              <a:buFontTx/>
              <a:buNone/>
              <a:tabLst/>
              <a:defRPr/>
            </a:pPr>
            <a:r>
              <a:rPr lang="en-US" sz="1600" dirty="0">
                <a:latin typeface="Arial" panose="020B0604020202020204" pitchFamily="34" charset="0"/>
                <a:cs typeface="Arial" panose="020B0604020202020204" pitchFamily="34" charset="0"/>
              </a:rPr>
              <a:t>https://exxar.cloud/cad-to-vr/prototyping-trends-physical-to-digital-to-virtual/</a:t>
            </a:r>
            <a:r>
              <a:rPr lang="en-US" sz="1600" b="0" i="0" dirty="0">
                <a:solidFill>
                  <a:srgbClr val="000000"/>
                </a:solidFill>
                <a:effectLst/>
                <a:latin typeface="Roboto" panose="02000000000000000000" pitchFamily="2" charset="0"/>
                <a:cs typeface="Arial" panose="020B0604020202020204" pitchFamily="34" charset="0"/>
              </a:rPr>
              <a:t> </a:t>
            </a:r>
            <a:endParaRPr lang="en-US" sz="1600" dirty="0">
              <a:latin typeface="Arial" panose="020B0604020202020204" pitchFamily="34" charset="0"/>
              <a:cs typeface="Arial" panose="020B0604020202020204" pitchFamily="34" charset="0"/>
            </a:endParaRPr>
          </a:p>
          <a:p>
            <a:endParaRPr lang="en-GB" noProof="0" dirty="0"/>
          </a:p>
        </p:txBody>
      </p:sp>
      <p:sp>
        <p:nvSpPr>
          <p:cNvPr id="4" name="Plassholder for lysbildenummer 3"/>
          <p:cNvSpPr>
            <a:spLocks noGrp="1"/>
          </p:cNvSpPr>
          <p:nvPr>
            <p:ph type="sldNum" sz="quarter" idx="5"/>
          </p:nvPr>
        </p:nvSpPr>
        <p:spPr/>
        <p:txBody>
          <a:bodyPr/>
          <a:lstStyle/>
          <a:p>
            <a:fld id="{E371EE1D-63D4-4EB8-8767-0D9156C73A0E}" type="slidenum">
              <a:rPr lang="en-US" smtClean="0"/>
              <a:t>3</a:t>
            </a:fld>
            <a:endParaRPr lang="en-US"/>
          </a:p>
        </p:txBody>
      </p:sp>
      <p:sp>
        <p:nvSpPr>
          <p:cNvPr id="5" name="Footer Placeholder 4">
            <a:extLst>
              <a:ext uri="{FF2B5EF4-FFF2-40B4-BE49-F238E27FC236}">
                <a16:creationId xmlns:a16="http://schemas.microsoft.com/office/drawing/2014/main" id="{AEFA70A0-CFCF-42DE-BCFD-CB98F6A85D81}"/>
              </a:ext>
            </a:extLst>
          </p:cNvPr>
          <p:cNvSpPr>
            <a:spLocks noGrp="1"/>
          </p:cNvSpPr>
          <p:nvPr>
            <p:ph type="ftr" sz="quarter" idx="4"/>
          </p:nvPr>
        </p:nvSpPr>
        <p:spPr/>
        <p:txBody>
          <a:bodyPr/>
          <a:lstStyle/>
          <a:p>
            <a:r>
              <a:rPr lang="en-US"/>
              <a:t>asdasdasd</a:t>
            </a:r>
          </a:p>
        </p:txBody>
      </p:sp>
    </p:spTree>
    <p:extLst>
      <p:ext uri="{BB962C8B-B14F-4D97-AF65-F5344CB8AC3E}">
        <p14:creationId xmlns:p14="http://schemas.microsoft.com/office/powerpoint/2010/main" val="238522802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en-GB" noProof="0" dirty="0"/>
          </a:p>
        </p:txBody>
      </p:sp>
      <p:sp>
        <p:nvSpPr>
          <p:cNvPr id="4" name="Plassholder for lysbildenummer 3"/>
          <p:cNvSpPr>
            <a:spLocks noGrp="1"/>
          </p:cNvSpPr>
          <p:nvPr>
            <p:ph type="sldNum" sz="quarter" idx="5"/>
          </p:nvPr>
        </p:nvSpPr>
        <p:spPr/>
        <p:txBody>
          <a:bodyPr/>
          <a:lstStyle/>
          <a:p>
            <a:fld id="{E371EE1D-63D4-4EB8-8767-0D9156C73A0E}" type="slidenum">
              <a:rPr lang="en-US" smtClean="0"/>
              <a:t>4</a:t>
            </a:fld>
            <a:endParaRPr lang="en-US"/>
          </a:p>
        </p:txBody>
      </p:sp>
      <p:sp>
        <p:nvSpPr>
          <p:cNvPr id="5" name="Footer Placeholder 4">
            <a:extLst>
              <a:ext uri="{FF2B5EF4-FFF2-40B4-BE49-F238E27FC236}">
                <a16:creationId xmlns:a16="http://schemas.microsoft.com/office/drawing/2014/main" id="{AEFA70A0-CFCF-42DE-BCFD-CB98F6A85D81}"/>
              </a:ext>
            </a:extLst>
          </p:cNvPr>
          <p:cNvSpPr>
            <a:spLocks noGrp="1"/>
          </p:cNvSpPr>
          <p:nvPr>
            <p:ph type="ftr" sz="quarter" idx="4"/>
          </p:nvPr>
        </p:nvSpPr>
        <p:spPr/>
        <p:txBody>
          <a:bodyPr/>
          <a:lstStyle/>
          <a:p>
            <a:r>
              <a:rPr lang="en-US"/>
              <a:t>asdasdasd</a:t>
            </a:r>
          </a:p>
        </p:txBody>
      </p:sp>
    </p:spTree>
    <p:extLst>
      <p:ext uri="{BB962C8B-B14F-4D97-AF65-F5344CB8AC3E}">
        <p14:creationId xmlns:p14="http://schemas.microsoft.com/office/powerpoint/2010/main" val="14905502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600" b="0" i="0" dirty="0">
                <a:solidFill>
                  <a:srgbClr val="363636"/>
                </a:solidFill>
                <a:effectLst/>
                <a:latin typeface="Open Sans" panose="020B0606030504020204" pitchFamily="34" charset="0"/>
              </a:rPr>
              <a:t>VP allows engineering teams to build and test virtual prototypes and realistically simulate them on their computers, both visually and mathematically. The full-motion </a:t>
            </a:r>
            <a:r>
              <a:rPr lang="en-US" sz="1600" b="0" i="0" dirty="0" err="1">
                <a:solidFill>
                  <a:srgbClr val="363636"/>
                </a:solidFill>
                <a:effectLst/>
                <a:latin typeface="Open Sans" panose="020B0606030504020204" pitchFamily="34" charset="0"/>
              </a:rPr>
              <a:t>behaviour</a:t>
            </a:r>
            <a:r>
              <a:rPr lang="en-US" sz="1600" b="0" i="0" dirty="0">
                <a:solidFill>
                  <a:srgbClr val="363636"/>
                </a:solidFill>
                <a:effectLst/>
                <a:latin typeface="Open Sans" panose="020B0606030504020204" pitchFamily="34" charset="0"/>
              </a:rPr>
              <a:t> of complex mechanical systems can be </a:t>
            </a:r>
            <a:r>
              <a:rPr lang="en-US" sz="1600" b="0" i="0" dirty="0" err="1">
                <a:solidFill>
                  <a:srgbClr val="363636"/>
                </a:solidFill>
                <a:effectLst/>
                <a:latin typeface="Open Sans" panose="020B0606030504020204" pitchFamily="34" charset="0"/>
              </a:rPr>
              <a:t>analysed</a:t>
            </a:r>
            <a:r>
              <a:rPr lang="en-US" sz="1600" b="0" i="0" dirty="0">
                <a:solidFill>
                  <a:srgbClr val="363636"/>
                </a:solidFill>
                <a:effectLst/>
                <a:latin typeface="Open Sans" panose="020B0606030504020204" pitchFamily="34" charset="0"/>
              </a:rPr>
              <a:t> before building an actual hardware prototype. Users can quickly explore multiple design variations, testing and refining until system performance is </a:t>
            </a:r>
            <a:r>
              <a:rPr lang="en-US" sz="1600" b="0" i="0" dirty="0" err="1">
                <a:solidFill>
                  <a:srgbClr val="363636"/>
                </a:solidFill>
                <a:effectLst/>
                <a:latin typeface="Open Sans" panose="020B0606030504020204" pitchFamily="34" charset="0"/>
              </a:rPr>
              <a:t>optimised</a:t>
            </a:r>
            <a:r>
              <a:rPr lang="en-US" sz="1600" b="0" i="0" dirty="0">
                <a:solidFill>
                  <a:srgbClr val="363636"/>
                </a:solidFill>
                <a:effectLst/>
                <a:latin typeface="Open Sans" panose="020B0606030504020204" pitchFamily="34" charset="0"/>
              </a:rPr>
              <a:t>. This can help reduce the time and cost of new product development, whilst significantly improving the quality of overall system designs.</a:t>
            </a:r>
          </a:p>
          <a:p>
            <a:pPr marL="0" marR="0" lvl="0" indent="0" algn="l" defTabSz="1219170" rtl="0" eaLnBrk="1" fontAlgn="auto" latinLnBrk="0" hangingPunct="1">
              <a:lnSpc>
                <a:spcPct val="100000"/>
              </a:lnSpc>
              <a:spcBef>
                <a:spcPts val="0"/>
              </a:spcBef>
              <a:spcAft>
                <a:spcPts val="0"/>
              </a:spcAft>
              <a:buClrTx/>
              <a:buSzTx/>
              <a:buFontTx/>
              <a:buNone/>
              <a:tabLst/>
              <a:defRPr/>
            </a:pPr>
            <a:r>
              <a:rPr lang="en-GB" dirty="0"/>
              <a:t>https://www.simscale.com/blog/2018/06/virtual-prototyping-benefit/</a:t>
            </a:r>
          </a:p>
          <a:p>
            <a:pPr marL="0" marR="0" lvl="0" indent="0" algn="l" defTabSz="1219170" rtl="0" eaLnBrk="1" fontAlgn="auto" latinLnBrk="0" hangingPunct="1">
              <a:lnSpc>
                <a:spcPct val="100000"/>
              </a:lnSpc>
              <a:spcBef>
                <a:spcPts val="0"/>
              </a:spcBef>
              <a:spcAft>
                <a:spcPts val="0"/>
              </a:spcAft>
              <a:buClrTx/>
              <a:buSzTx/>
              <a:buFontTx/>
              <a:buNone/>
              <a:tabLst/>
              <a:defRPr/>
            </a:pPr>
            <a:endParaRPr lang="en-GB" noProof="0" dirty="0"/>
          </a:p>
        </p:txBody>
      </p:sp>
      <p:sp>
        <p:nvSpPr>
          <p:cNvPr id="4" name="Plassholder for lysbildenummer 3"/>
          <p:cNvSpPr>
            <a:spLocks noGrp="1"/>
          </p:cNvSpPr>
          <p:nvPr>
            <p:ph type="sldNum" sz="quarter" idx="5"/>
          </p:nvPr>
        </p:nvSpPr>
        <p:spPr/>
        <p:txBody>
          <a:bodyPr/>
          <a:lstStyle/>
          <a:p>
            <a:fld id="{E371EE1D-63D4-4EB8-8767-0D9156C73A0E}" type="slidenum">
              <a:rPr lang="en-US" smtClean="0"/>
              <a:t>5</a:t>
            </a:fld>
            <a:endParaRPr lang="en-US"/>
          </a:p>
        </p:txBody>
      </p:sp>
      <p:sp>
        <p:nvSpPr>
          <p:cNvPr id="5" name="Footer Placeholder 4">
            <a:extLst>
              <a:ext uri="{FF2B5EF4-FFF2-40B4-BE49-F238E27FC236}">
                <a16:creationId xmlns:a16="http://schemas.microsoft.com/office/drawing/2014/main" id="{AEFA70A0-CFCF-42DE-BCFD-CB98F6A85D81}"/>
              </a:ext>
            </a:extLst>
          </p:cNvPr>
          <p:cNvSpPr>
            <a:spLocks noGrp="1"/>
          </p:cNvSpPr>
          <p:nvPr>
            <p:ph type="ftr" sz="quarter" idx="4"/>
          </p:nvPr>
        </p:nvSpPr>
        <p:spPr/>
        <p:txBody>
          <a:bodyPr/>
          <a:lstStyle/>
          <a:p>
            <a:r>
              <a:rPr lang="en-US"/>
              <a:t>asdasdasd</a:t>
            </a:r>
          </a:p>
        </p:txBody>
      </p:sp>
    </p:spTree>
    <p:extLst>
      <p:ext uri="{BB962C8B-B14F-4D97-AF65-F5344CB8AC3E}">
        <p14:creationId xmlns:p14="http://schemas.microsoft.com/office/powerpoint/2010/main" val="207750278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noProof="0" dirty="0"/>
              <a:t>https://www.twi-global.com/technical-knowledge/faqs/faq-what-is-virtual-prototyping</a:t>
            </a:r>
          </a:p>
        </p:txBody>
      </p:sp>
      <p:sp>
        <p:nvSpPr>
          <p:cNvPr id="4" name="Plassholder for lysbildenummer 3"/>
          <p:cNvSpPr>
            <a:spLocks noGrp="1"/>
          </p:cNvSpPr>
          <p:nvPr>
            <p:ph type="sldNum" sz="quarter" idx="5"/>
          </p:nvPr>
        </p:nvSpPr>
        <p:spPr/>
        <p:txBody>
          <a:bodyPr/>
          <a:lstStyle/>
          <a:p>
            <a:fld id="{E371EE1D-63D4-4EB8-8767-0D9156C73A0E}" type="slidenum">
              <a:rPr lang="en-US" smtClean="0"/>
              <a:t>6</a:t>
            </a:fld>
            <a:endParaRPr lang="en-US"/>
          </a:p>
        </p:txBody>
      </p:sp>
      <p:sp>
        <p:nvSpPr>
          <p:cNvPr id="5" name="Footer Placeholder 4">
            <a:extLst>
              <a:ext uri="{FF2B5EF4-FFF2-40B4-BE49-F238E27FC236}">
                <a16:creationId xmlns:a16="http://schemas.microsoft.com/office/drawing/2014/main" id="{AEFA70A0-CFCF-42DE-BCFD-CB98F6A85D81}"/>
              </a:ext>
            </a:extLst>
          </p:cNvPr>
          <p:cNvSpPr>
            <a:spLocks noGrp="1"/>
          </p:cNvSpPr>
          <p:nvPr>
            <p:ph type="ftr" sz="quarter" idx="4"/>
          </p:nvPr>
        </p:nvSpPr>
        <p:spPr/>
        <p:txBody>
          <a:bodyPr/>
          <a:lstStyle/>
          <a:p>
            <a:r>
              <a:rPr lang="en-US"/>
              <a:t>asdasdasd</a:t>
            </a:r>
          </a:p>
        </p:txBody>
      </p:sp>
    </p:spTree>
    <p:extLst>
      <p:ext uri="{BB962C8B-B14F-4D97-AF65-F5344CB8AC3E}">
        <p14:creationId xmlns:p14="http://schemas.microsoft.com/office/powerpoint/2010/main" val="1410420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noProof="0" dirty="0"/>
              <a:t>Ref: </a:t>
            </a:r>
            <a:r>
              <a:rPr lang="en-US" b="0" i="0" dirty="0">
                <a:effectLst/>
                <a:latin typeface="Arial" panose="020B0604020202020204" pitchFamily="34" charset="0"/>
              </a:rPr>
              <a:t>A framework for rapid virtual prototyping: a case study with the </a:t>
            </a:r>
            <a:r>
              <a:rPr lang="en-US" b="0" i="0" dirty="0" err="1">
                <a:effectLst/>
                <a:latin typeface="Arial" panose="020B0604020202020204" pitchFamily="34" charset="0"/>
              </a:rPr>
              <a:t>Gunnerus</a:t>
            </a:r>
            <a:r>
              <a:rPr lang="en-US" b="0" i="0" dirty="0">
                <a:effectLst/>
                <a:latin typeface="Arial" panose="020B0604020202020204" pitchFamily="34" charset="0"/>
              </a:rPr>
              <a:t> research vessel</a:t>
            </a:r>
            <a:endParaRPr lang="en-GB" noProof="0" dirty="0"/>
          </a:p>
        </p:txBody>
      </p:sp>
      <p:sp>
        <p:nvSpPr>
          <p:cNvPr id="4" name="Plassholder for lysbildenummer 3"/>
          <p:cNvSpPr>
            <a:spLocks noGrp="1"/>
          </p:cNvSpPr>
          <p:nvPr>
            <p:ph type="sldNum" sz="quarter" idx="5"/>
          </p:nvPr>
        </p:nvSpPr>
        <p:spPr/>
        <p:txBody>
          <a:bodyPr/>
          <a:lstStyle/>
          <a:p>
            <a:fld id="{E371EE1D-63D4-4EB8-8767-0D9156C73A0E}" type="slidenum">
              <a:rPr lang="en-US" smtClean="0"/>
              <a:t>7</a:t>
            </a:fld>
            <a:endParaRPr lang="en-US"/>
          </a:p>
        </p:txBody>
      </p:sp>
      <p:sp>
        <p:nvSpPr>
          <p:cNvPr id="5" name="Footer Placeholder 4">
            <a:extLst>
              <a:ext uri="{FF2B5EF4-FFF2-40B4-BE49-F238E27FC236}">
                <a16:creationId xmlns:a16="http://schemas.microsoft.com/office/drawing/2014/main" id="{AEFA70A0-CFCF-42DE-BCFD-CB98F6A85D81}"/>
              </a:ext>
            </a:extLst>
          </p:cNvPr>
          <p:cNvSpPr>
            <a:spLocks noGrp="1"/>
          </p:cNvSpPr>
          <p:nvPr>
            <p:ph type="ftr" sz="quarter" idx="4"/>
          </p:nvPr>
        </p:nvSpPr>
        <p:spPr/>
        <p:txBody>
          <a:bodyPr/>
          <a:lstStyle/>
          <a:p>
            <a:r>
              <a:rPr lang="en-US"/>
              <a:t>asdasdasd</a:t>
            </a:r>
          </a:p>
        </p:txBody>
      </p:sp>
    </p:spTree>
    <p:extLst>
      <p:ext uri="{BB962C8B-B14F-4D97-AF65-F5344CB8AC3E}">
        <p14:creationId xmlns:p14="http://schemas.microsoft.com/office/powerpoint/2010/main" val="21568881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1600" dirty="0">
                <a:hlinkClick r:id="rId3"/>
              </a:rPr>
              <a:t>https://www.youtube.com/watch?v=iVS-AuSjpOQ</a:t>
            </a:r>
            <a:r>
              <a:rPr lang="en-GB" sz="1600" dirty="0"/>
              <a:t> </a:t>
            </a:r>
          </a:p>
          <a:p>
            <a:pPr marL="0" marR="0" lvl="0" indent="0" algn="l" defTabSz="1219170" rtl="0" eaLnBrk="1" fontAlgn="auto" latinLnBrk="0" hangingPunct="1">
              <a:lnSpc>
                <a:spcPct val="100000"/>
              </a:lnSpc>
              <a:spcBef>
                <a:spcPts val="0"/>
              </a:spcBef>
              <a:spcAft>
                <a:spcPts val="0"/>
              </a:spcAft>
              <a:buClrTx/>
              <a:buSzTx/>
              <a:buFontTx/>
              <a:buNone/>
              <a:tabLst/>
              <a:defRPr/>
            </a:pPr>
            <a:endParaRPr lang="nb-NO" sz="1600" dirty="0">
              <a:latin typeface="Arial" panose="020B0604020202020204" pitchFamily="34" charset="0"/>
              <a:cs typeface="Arial" panose="020B0604020202020204" pitchFamily="34" charset="0"/>
            </a:endParaRPr>
          </a:p>
          <a:p>
            <a:pPr marL="0" marR="0" lvl="0" indent="0" algn="l" defTabSz="1219170" rtl="0" eaLnBrk="1" fontAlgn="auto" latinLnBrk="0" hangingPunct="1">
              <a:lnSpc>
                <a:spcPct val="100000"/>
              </a:lnSpc>
              <a:spcBef>
                <a:spcPts val="0"/>
              </a:spcBef>
              <a:spcAft>
                <a:spcPts val="0"/>
              </a:spcAft>
              <a:buClrTx/>
              <a:buSzTx/>
              <a:buFontTx/>
              <a:buNone/>
              <a:tabLst/>
              <a:defRPr/>
            </a:pPr>
            <a:r>
              <a:rPr lang="en-GB" sz="1600" dirty="0">
                <a:hlinkClick r:id="rId4"/>
              </a:rPr>
              <a:t>https://www.youtube.com/watch?v=PJLCDbTZl80</a:t>
            </a:r>
            <a:r>
              <a:rPr lang="en-GB" sz="1600" dirty="0"/>
              <a:t> </a:t>
            </a:r>
          </a:p>
          <a:p>
            <a:pPr marL="0" marR="0" lvl="0" indent="0" algn="l" defTabSz="1219170" rtl="0" eaLnBrk="1" fontAlgn="auto" latinLnBrk="0" hangingPunct="1">
              <a:lnSpc>
                <a:spcPct val="100000"/>
              </a:lnSpc>
              <a:spcBef>
                <a:spcPts val="0"/>
              </a:spcBef>
              <a:spcAft>
                <a:spcPts val="0"/>
              </a:spcAft>
              <a:buClrTx/>
              <a:buSzTx/>
              <a:buFontTx/>
              <a:buNone/>
              <a:tabLst/>
              <a:defRPr/>
            </a:pPr>
            <a:endParaRPr lang="en-US" sz="1600" dirty="0">
              <a:latin typeface="Arial" panose="020B0604020202020204" pitchFamily="34" charset="0"/>
              <a:cs typeface="Arial" panose="020B0604020202020204" pitchFamily="34" charset="0"/>
            </a:endParaRPr>
          </a:p>
          <a:p>
            <a:endParaRPr lang="en-GB" noProof="0" dirty="0"/>
          </a:p>
        </p:txBody>
      </p:sp>
      <p:sp>
        <p:nvSpPr>
          <p:cNvPr id="4" name="Plassholder for lysbildenummer 3"/>
          <p:cNvSpPr>
            <a:spLocks noGrp="1"/>
          </p:cNvSpPr>
          <p:nvPr>
            <p:ph type="sldNum" sz="quarter" idx="5"/>
          </p:nvPr>
        </p:nvSpPr>
        <p:spPr/>
        <p:txBody>
          <a:bodyPr/>
          <a:lstStyle/>
          <a:p>
            <a:fld id="{E371EE1D-63D4-4EB8-8767-0D9156C73A0E}" type="slidenum">
              <a:rPr lang="en-US" smtClean="0"/>
              <a:t>8</a:t>
            </a:fld>
            <a:endParaRPr lang="en-US"/>
          </a:p>
        </p:txBody>
      </p:sp>
      <p:sp>
        <p:nvSpPr>
          <p:cNvPr id="5" name="Footer Placeholder 4">
            <a:extLst>
              <a:ext uri="{FF2B5EF4-FFF2-40B4-BE49-F238E27FC236}">
                <a16:creationId xmlns:a16="http://schemas.microsoft.com/office/drawing/2014/main" id="{AEFA70A0-CFCF-42DE-BCFD-CB98F6A85D81}"/>
              </a:ext>
            </a:extLst>
          </p:cNvPr>
          <p:cNvSpPr>
            <a:spLocks noGrp="1"/>
          </p:cNvSpPr>
          <p:nvPr>
            <p:ph type="ftr" sz="quarter" idx="4"/>
          </p:nvPr>
        </p:nvSpPr>
        <p:spPr/>
        <p:txBody>
          <a:bodyPr/>
          <a:lstStyle/>
          <a:p>
            <a:r>
              <a:rPr lang="en-US"/>
              <a:t>asdasdasd</a:t>
            </a:r>
          </a:p>
        </p:txBody>
      </p:sp>
    </p:spTree>
    <p:extLst>
      <p:ext uri="{BB962C8B-B14F-4D97-AF65-F5344CB8AC3E}">
        <p14:creationId xmlns:p14="http://schemas.microsoft.com/office/powerpoint/2010/main" val="18390903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dirty="0"/>
              <a:t>From 2003 to 2011, the rapid development of the communication technology, Internet of Things (IoT), sensor technology, big data analytics, and simulation technologies contributed to the rise of DTs. In 2011, the first journal article was published</a:t>
            </a:r>
            <a:r>
              <a:rPr lang="en-GB" altLang="zh-CN" dirty="0"/>
              <a:t>.</a:t>
            </a:r>
          </a:p>
          <a:p>
            <a:pPr marL="0" marR="0" lvl="0" indent="0" algn="l" defTabSz="1219170" rtl="0" eaLnBrk="1" fontAlgn="auto" latinLnBrk="0" hangingPunct="1">
              <a:lnSpc>
                <a:spcPct val="100000"/>
              </a:lnSpc>
              <a:spcBef>
                <a:spcPts val="0"/>
              </a:spcBef>
              <a:spcAft>
                <a:spcPts val="0"/>
              </a:spcAft>
              <a:buClrTx/>
              <a:buSzTx/>
              <a:buFontTx/>
              <a:buNone/>
              <a:tabLst/>
              <a:defRPr/>
            </a:pPr>
            <a:r>
              <a:rPr lang="en-US" dirty="0"/>
              <a:t>In 2014, the first white paper was published, which reflected the growth of DTs from one conceptual idea to numerous practical applications</a:t>
            </a:r>
            <a:endParaRPr lang="nb-NO" sz="1600" dirty="0">
              <a:latin typeface="Arial" panose="020B0604020202020204" pitchFamily="34" charset="0"/>
              <a:cs typeface="Arial" panose="020B0604020202020204" pitchFamily="34" charset="0"/>
            </a:endParaRPr>
          </a:p>
          <a:p>
            <a:pPr marL="0" marR="0" lvl="0" indent="0" algn="l" defTabSz="1219170" rtl="0" eaLnBrk="1" fontAlgn="auto" latinLnBrk="0" hangingPunct="1">
              <a:lnSpc>
                <a:spcPct val="100000"/>
              </a:lnSpc>
              <a:spcBef>
                <a:spcPts val="0"/>
              </a:spcBef>
              <a:spcAft>
                <a:spcPts val="0"/>
              </a:spcAft>
              <a:buClrTx/>
              <a:buSzTx/>
              <a:buFontTx/>
              <a:buNone/>
              <a:tabLst/>
              <a:defRPr/>
            </a:pPr>
            <a:endParaRPr lang="en-US" sz="1600" dirty="0">
              <a:latin typeface="Arial" panose="020B0604020202020204" pitchFamily="34" charset="0"/>
              <a:cs typeface="Arial" panose="020B0604020202020204" pitchFamily="34" charset="0"/>
            </a:endParaRPr>
          </a:p>
          <a:p>
            <a:endParaRPr lang="en-GB" noProof="0" dirty="0"/>
          </a:p>
        </p:txBody>
      </p:sp>
      <p:sp>
        <p:nvSpPr>
          <p:cNvPr id="4" name="Plassholder for lysbildenummer 3"/>
          <p:cNvSpPr>
            <a:spLocks noGrp="1"/>
          </p:cNvSpPr>
          <p:nvPr>
            <p:ph type="sldNum" sz="quarter" idx="5"/>
          </p:nvPr>
        </p:nvSpPr>
        <p:spPr/>
        <p:txBody>
          <a:bodyPr/>
          <a:lstStyle/>
          <a:p>
            <a:fld id="{E371EE1D-63D4-4EB8-8767-0D9156C73A0E}" type="slidenum">
              <a:rPr lang="en-US" smtClean="0"/>
              <a:t>9</a:t>
            </a:fld>
            <a:endParaRPr lang="en-US"/>
          </a:p>
        </p:txBody>
      </p:sp>
      <p:sp>
        <p:nvSpPr>
          <p:cNvPr id="5" name="Footer Placeholder 4">
            <a:extLst>
              <a:ext uri="{FF2B5EF4-FFF2-40B4-BE49-F238E27FC236}">
                <a16:creationId xmlns:a16="http://schemas.microsoft.com/office/drawing/2014/main" id="{AEFA70A0-CFCF-42DE-BCFD-CB98F6A85D81}"/>
              </a:ext>
            </a:extLst>
          </p:cNvPr>
          <p:cNvSpPr>
            <a:spLocks noGrp="1"/>
          </p:cNvSpPr>
          <p:nvPr>
            <p:ph type="ftr" sz="quarter" idx="4"/>
          </p:nvPr>
        </p:nvSpPr>
        <p:spPr/>
        <p:txBody>
          <a:bodyPr/>
          <a:lstStyle/>
          <a:p>
            <a:r>
              <a:rPr lang="en-US"/>
              <a:t>asdasdasd</a:t>
            </a:r>
          </a:p>
        </p:txBody>
      </p:sp>
    </p:spTree>
    <p:extLst>
      <p:ext uri="{BB962C8B-B14F-4D97-AF65-F5344CB8AC3E}">
        <p14:creationId xmlns:p14="http://schemas.microsoft.com/office/powerpoint/2010/main" val="48588762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1486337" y="2677415"/>
            <a:ext cx="10363200" cy="901095"/>
          </a:xfrm>
        </p:spPr>
        <p:txBody>
          <a:bodyPr anchor="t" anchorCtr="0"/>
          <a:lstStyle/>
          <a:p>
            <a:r>
              <a:rPr lang="nb-NO" dirty="0"/>
              <a:t>Klikk for å redigere tittelstil</a:t>
            </a:r>
          </a:p>
        </p:txBody>
      </p:sp>
      <p:sp>
        <p:nvSpPr>
          <p:cNvPr id="3" name="Undertittel 2"/>
          <p:cNvSpPr>
            <a:spLocks noGrp="1"/>
          </p:cNvSpPr>
          <p:nvPr>
            <p:ph type="subTitle" idx="1"/>
          </p:nvPr>
        </p:nvSpPr>
        <p:spPr>
          <a:xfrm>
            <a:off x="1486337" y="3645155"/>
            <a:ext cx="10363200" cy="1752600"/>
          </a:xfrm>
        </p:spPr>
        <p:txBody>
          <a:bodyPr/>
          <a:lstStyle>
            <a:lvl1pPr marL="0" indent="0" algn="l">
              <a:buNone/>
              <a:defRPr>
                <a:solidFill>
                  <a:schemeClr val="tx1">
                    <a:tint val="7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b-NO" dirty="0"/>
              <a:t>Klikk for å redigere undertittelstil i malen</a:t>
            </a:r>
          </a:p>
        </p:txBody>
      </p:sp>
    </p:spTree>
    <p:extLst>
      <p:ext uri="{BB962C8B-B14F-4D97-AF65-F5344CB8AC3E}">
        <p14:creationId xmlns:p14="http://schemas.microsoft.com/office/powerpoint/2010/main" val="10001595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loddrett tekst 2"/>
          <p:cNvSpPr>
            <a:spLocks noGrp="1"/>
          </p:cNvSpPr>
          <p:nvPr>
            <p:ph type="body" orient="vert" idx="1"/>
          </p:nvPr>
        </p:nvSpPr>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98385065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8839200" y="274639"/>
            <a:ext cx="2743200" cy="5851525"/>
          </a:xfrm>
        </p:spPr>
        <p:txBody>
          <a:bodyPr vert="eaVert"/>
          <a:lstStyle/>
          <a:p>
            <a:r>
              <a:rPr lang="nb-NO"/>
              <a:t>Klikk for å redigere tittelstil</a:t>
            </a:r>
          </a:p>
        </p:txBody>
      </p:sp>
      <p:sp>
        <p:nvSpPr>
          <p:cNvPr id="3" name="Plassholder for loddrett tekst 2"/>
          <p:cNvSpPr>
            <a:spLocks noGrp="1"/>
          </p:cNvSpPr>
          <p:nvPr>
            <p:ph type="body" orient="vert" idx="1"/>
          </p:nvPr>
        </p:nvSpPr>
        <p:spPr>
          <a:xfrm>
            <a:off x="1354667" y="274639"/>
            <a:ext cx="7281333" cy="5851525"/>
          </a:xfr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03183196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innhold 2"/>
          <p:cNvSpPr>
            <a:spLocks noGrp="1"/>
          </p:cNvSpPr>
          <p:nvPr>
            <p:ph idx="1"/>
          </p:nvPr>
        </p:nvSpPr>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7" name="Plassholder for lysbildenummer 5"/>
          <p:cNvSpPr txBox="1">
            <a:spLocks/>
          </p:cNvSpPr>
          <p:nvPr userDrawn="1"/>
        </p:nvSpPr>
        <p:spPr>
          <a:xfrm>
            <a:off x="-1" y="6421248"/>
            <a:ext cx="1336432" cy="365125"/>
          </a:xfrm>
          <a:prstGeom prst="rect">
            <a:avLst/>
          </a:prstGeom>
        </p:spPr>
        <p:txBody>
          <a:bodyPr/>
          <a:lstStyle>
            <a:defPPr>
              <a:defRPr lang="nb-NO"/>
            </a:defPPr>
            <a:lvl1pPr marL="0" algn="l" defTabSz="457200" rtl="0" eaLnBrk="1" latinLnBrk="0" hangingPunct="1">
              <a:defRPr sz="10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91853A39-49B3-554A-AE82-85611CEBD8E3}" type="slidenum">
              <a:rPr lang="nb-NO" sz="1333" b="1" i="0" smtClean="0">
                <a:latin typeface="Arial"/>
                <a:cs typeface="Arial"/>
              </a:rPr>
              <a:pPr algn="ctr"/>
              <a:t>‹#›</a:t>
            </a:fld>
            <a:endParaRPr lang="nb-NO" sz="1333" b="1" i="0" dirty="0">
              <a:latin typeface="Arial"/>
              <a:cs typeface="Arial"/>
            </a:endParaRPr>
          </a:p>
        </p:txBody>
      </p:sp>
    </p:spTree>
    <p:extLst>
      <p:ext uri="{BB962C8B-B14F-4D97-AF65-F5344CB8AC3E}">
        <p14:creationId xmlns:p14="http://schemas.microsoft.com/office/powerpoint/2010/main" val="20600198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Inndelingsoverskrift">
    <p:spTree>
      <p:nvGrpSpPr>
        <p:cNvPr id="1" name=""/>
        <p:cNvGrpSpPr/>
        <p:nvPr/>
      </p:nvGrpSpPr>
      <p:grpSpPr>
        <a:xfrm>
          <a:off x="0" y="0"/>
          <a:ext cx="0" cy="0"/>
          <a:chOff x="0" y="0"/>
          <a:chExt cx="0" cy="0"/>
        </a:xfrm>
      </p:grpSpPr>
      <p:sp>
        <p:nvSpPr>
          <p:cNvPr id="2" name="Tittel 1"/>
          <p:cNvSpPr>
            <a:spLocks noGrp="1"/>
          </p:cNvSpPr>
          <p:nvPr>
            <p:ph type="title"/>
          </p:nvPr>
        </p:nvSpPr>
        <p:spPr>
          <a:xfrm>
            <a:off x="1410587" y="4406901"/>
            <a:ext cx="10363200" cy="1362075"/>
          </a:xfrm>
        </p:spPr>
        <p:txBody>
          <a:bodyPr anchor="t"/>
          <a:lstStyle>
            <a:lvl1pPr algn="l">
              <a:defRPr sz="5333" b="1" cap="all"/>
            </a:lvl1pPr>
          </a:lstStyle>
          <a:p>
            <a:r>
              <a:rPr lang="nb-NO"/>
              <a:t>Klikk for å redigere tittelstil</a:t>
            </a:r>
          </a:p>
        </p:txBody>
      </p:sp>
      <p:sp>
        <p:nvSpPr>
          <p:cNvPr id="3" name="Plassholder for tekst 2"/>
          <p:cNvSpPr>
            <a:spLocks noGrp="1"/>
          </p:cNvSpPr>
          <p:nvPr>
            <p:ph type="body" idx="1"/>
          </p:nvPr>
        </p:nvSpPr>
        <p:spPr>
          <a:xfrm>
            <a:off x="1410587" y="2906713"/>
            <a:ext cx="10363200" cy="1500187"/>
          </a:xfrm>
        </p:spPr>
        <p:txBody>
          <a:bodyPr anchor="b"/>
          <a:lstStyle>
            <a:lvl1pPr marL="0" indent="0">
              <a:buNone/>
              <a:defRPr sz="2667">
                <a:solidFill>
                  <a:schemeClr val="tx1">
                    <a:tint val="75000"/>
                  </a:schemeClr>
                </a:solidFill>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nb-NO"/>
              <a:t>Klikk for å redigere tekststiler i malen</a:t>
            </a:r>
          </a:p>
        </p:txBody>
      </p:sp>
    </p:spTree>
    <p:extLst>
      <p:ext uri="{BB962C8B-B14F-4D97-AF65-F5344CB8AC3E}">
        <p14:creationId xmlns:p14="http://schemas.microsoft.com/office/powerpoint/2010/main" val="298246049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o innholdsdeler">
    <p:spTree>
      <p:nvGrpSpPr>
        <p:cNvPr id="1" name=""/>
        <p:cNvGrpSpPr/>
        <p:nvPr/>
      </p:nvGrpSpPr>
      <p:grpSpPr>
        <a:xfrm>
          <a:off x="0" y="0"/>
          <a:ext cx="0" cy="0"/>
          <a:chOff x="0" y="0"/>
          <a:chExt cx="0" cy="0"/>
        </a:xfrm>
      </p:grpSpPr>
      <p:sp>
        <p:nvSpPr>
          <p:cNvPr id="8" name="Tittel 1"/>
          <p:cNvSpPr>
            <a:spLocks noGrp="1"/>
          </p:cNvSpPr>
          <p:nvPr>
            <p:ph type="title"/>
          </p:nvPr>
        </p:nvSpPr>
        <p:spPr>
          <a:xfrm>
            <a:off x="1460735" y="274639"/>
            <a:ext cx="9876539" cy="1143000"/>
          </a:xfrm>
        </p:spPr>
        <p:txBody>
          <a:bodyPr/>
          <a:lstStyle/>
          <a:p>
            <a:r>
              <a:rPr lang="nb-NO" dirty="0"/>
              <a:t>Klikk for å redigere tittelstil</a:t>
            </a:r>
          </a:p>
        </p:txBody>
      </p:sp>
      <p:sp>
        <p:nvSpPr>
          <p:cNvPr id="9" name="Plassholder for innhold 2"/>
          <p:cNvSpPr>
            <a:spLocks noGrp="1"/>
          </p:cNvSpPr>
          <p:nvPr>
            <p:ph sz="half" idx="1"/>
          </p:nvPr>
        </p:nvSpPr>
        <p:spPr>
          <a:xfrm>
            <a:off x="1486283" y="1600201"/>
            <a:ext cx="4890460" cy="4525963"/>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0" name="Plassholder for innhold 3"/>
          <p:cNvSpPr>
            <a:spLocks noGrp="1"/>
          </p:cNvSpPr>
          <p:nvPr>
            <p:ph sz="half" idx="2"/>
          </p:nvPr>
        </p:nvSpPr>
        <p:spPr>
          <a:xfrm>
            <a:off x="7074283" y="1600201"/>
            <a:ext cx="4898591" cy="4525963"/>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Tree>
    <p:extLst>
      <p:ext uri="{BB962C8B-B14F-4D97-AF65-F5344CB8AC3E}">
        <p14:creationId xmlns:p14="http://schemas.microsoft.com/office/powerpoint/2010/main" val="137291424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10" name="Tittel 1"/>
          <p:cNvSpPr>
            <a:spLocks noGrp="1"/>
          </p:cNvSpPr>
          <p:nvPr>
            <p:ph type="title"/>
          </p:nvPr>
        </p:nvSpPr>
        <p:spPr>
          <a:xfrm>
            <a:off x="1412697" y="274639"/>
            <a:ext cx="9876539" cy="1143000"/>
          </a:xfrm>
        </p:spPr>
        <p:txBody>
          <a:bodyPr/>
          <a:lstStyle>
            <a:lvl1pPr>
              <a:defRPr/>
            </a:lvl1pPr>
          </a:lstStyle>
          <a:p>
            <a:r>
              <a:rPr lang="nb-NO"/>
              <a:t>Klikk for å redigere tittelstil</a:t>
            </a:r>
          </a:p>
        </p:txBody>
      </p:sp>
      <p:sp>
        <p:nvSpPr>
          <p:cNvPr id="11" name="Plassholder for tekst 2"/>
          <p:cNvSpPr>
            <a:spLocks noGrp="1"/>
          </p:cNvSpPr>
          <p:nvPr>
            <p:ph type="body" idx="1"/>
          </p:nvPr>
        </p:nvSpPr>
        <p:spPr>
          <a:xfrm>
            <a:off x="1426235" y="1535113"/>
            <a:ext cx="5022557" cy="639763"/>
          </a:xfr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nb-NO"/>
              <a:t>Klikk for å redigere tekststiler i malen</a:t>
            </a:r>
          </a:p>
        </p:txBody>
      </p:sp>
      <p:sp>
        <p:nvSpPr>
          <p:cNvPr id="12" name="Plassholder for innhold 3"/>
          <p:cNvSpPr>
            <a:spLocks noGrp="1"/>
          </p:cNvSpPr>
          <p:nvPr>
            <p:ph sz="half" idx="2"/>
          </p:nvPr>
        </p:nvSpPr>
        <p:spPr>
          <a:xfrm>
            <a:off x="1426235" y="2174875"/>
            <a:ext cx="5022557" cy="3951288"/>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13" name="Plassholder for tekst 4"/>
          <p:cNvSpPr>
            <a:spLocks noGrp="1"/>
          </p:cNvSpPr>
          <p:nvPr>
            <p:ph type="body" sz="quarter" idx="3"/>
          </p:nvPr>
        </p:nvSpPr>
        <p:spPr>
          <a:xfrm>
            <a:off x="7010003" y="1535113"/>
            <a:ext cx="5082957" cy="639763"/>
          </a:xfr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nb-NO"/>
              <a:t>Klikk for å redigere tekststiler i malen</a:t>
            </a:r>
          </a:p>
        </p:txBody>
      </p:sp>
      <p:sp>
        <p:nvSpPr>
          <p:cNvPr id="14" name="Plassholder for innhold 5"/>
          <p:cNvSpPr>
            <a:spLocks noGrp="1"/>
          </p:cNvSpPr>
          <p:nvPr>
            <p:ph sz="quarter" idx="4"/>
          </p:nvPr>
        </p:nvSpPr>
        <p:spPr>
          <a:xfrm>
            <a:off x="7010003" y="2174875"/>
            <a:ext cx="5082959" cy="3951288"/>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70223664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Tree>
    <p:extLst>
      <p:ext uri="{BB962C8B-B14F-4D97-AF65-F5344CB8AC3E}">
        <p14:creationId xmlns:p14="http://schemas.microsoft.com/office/powerpoint/2010/main" val="317224962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971850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nnhold med tekst">
    <p:spTree>
      <p:nvGrpSpPr>
        <p:cNvPr id="1" name=""/>
        <p:cNvGrpSpPr/>
        <p:nvPr/>
      </p:nvGrpSpPr>
      <p:grpSpPr>
        <a:xfrm>
          <a:off x="0" y="0"/>
          <a:ext cx="0" cy="0"/>
          <a:chOff x="0" y="0"/>
          <a:chExt cx="0" cy="0"/>
        </a:xfrm>
      </p:grpSpPr>
      <p:sp>
        <p:nvSpPr>
          <p:cNvPr id="8" name="Tittel 1"/>
          <p:cNvSpPr>
            <a:spLocks noGrp="1"/>
          </p:cNvSpPr>
          <p:nvPr>
            <p:ph type="title"/>
          </p:nvPr>
        </p:nvSpPr>
        <p:spPr>
          <a:xfrm>
            <a:off x="1366190" y="273049"/>
            <a:ext cx="4011084" cy="1162051"/>
          </a:xfrm>
        </p:spPr>
        <p:txBody>
          <a:bodyPr anchor="b"/>
          <a:lstStyle>
            <a:lvl1pPr algn="l">
              <a:defRPr sz="2667" b="1"/>
            </a:lvl1pPr>
          </a:lstStyle>
          <a:p>
            <a:r>
              <a:rPr lang="nb-NO"/>
              <a:t>Klikk for å redigere tittelstil</a:t>
            </a:r>
          </a:p>
        </p:txBody>
      </p:sp>
      <p:sp>
        <p:nvSpPr>
          <p:cNvPr id="9" name="Plassholder for innhold 2"/>
          <p:cNvSpPr>
            <a:spLocks noGrp="1"/>
          </p:cNvSpPr>
          <p:nvPr>
            <p:ph idx="1"/>
          </p:nvPr>
        </p:nvSpPr>
        <p:spPr>
          <a:xfrm>
            <a:off x="5523322" y="273052"/>
            <a:ext cx="6353445" cy="5853113"/>
          </a:xfrm>
        </p:spPr>
        <p:txBody>
          <a:bodyPr/>
          <a:lstStyle>
            <a:lvl1pPr>
              <a:defRPr sz="4267"/>
            </a:lvl1pPr>
            <a:lvl2pPr>
              <a:defRPr sz="3733"/>
            </a:lvl2pPr>
            <a:lvl3pPr>
              <a:defRPr sz="3200"/>
            </a:lvl3pPr>
            <a:lvl4pPr>
              <a:defRPr sz="2667"/>
            </a:lvl4pPr>
            <a:lvl5pPr>
              <a:defRPr sz="2667"/>
            </a:lvl5pPr>
            <a:lvl6pPr>
              <a:defRPr sz="2667"/>
            </a:lvl6pPr>
            <a:lvl7pPr>
              <a:defRPr sz="2667"/>
            </a:lvl7pPr>
            <a:lvl8pPr>
              <a:defRPr sz="2667"/>
            </a:lvl8pPr>
            <a:lvl9pPr>
              <a:defRPr sz="2667"/>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0" name="Plassholder for tekst 3"/>
          <p:cNvSpPr>
            <a:spLocks noGrp="1"/>
          </p:cNvSpPr>
          <p:nvPr>
            <p:ph type="body" sz="half" idx="2"/>
          </p:nvPr>
        </p:nvSpPr>
        <p:spPr>
          <a:xfrm>
            <a:off x="1366190" y="1435102"/>
            <a:ext cx="4011084" cy="4691063"/>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nb-NO"/>
              <a:t>Klikk for å redigere tekststiler i malen</a:t>
            </a:r>
          </a:p>
        </p:txBody>
      </p:sp>
    </p:spTree>
    <p:extLst>
      <p:ext uri="{BB962C8B-B14F-4D97-AF65-F5344CB8AC3E}">
        <p14:creationId xmlns:p14="http://schemas.microsoft.com/office/powerpoint/2010/main" val="159648620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2389717" y="4800600"/>
            <a:ext cx="7315200" cy="566739"/>
          </a:xfrm>
        </p:spPr>
        <p:txBody>
          <a:bodyPr anchor="b"/>
          <a:lstStyle>
            <a:lvl1pPr algn="l">
              <a:defRPr sz="2667" b="1"/>
            </a:lvl1pPr>
          </a:lstStyle>
          <a:p>
            <a:r>
              <a:rPr lang="nb-NO"/>
              <a:t>Klikk for å redigere tittelstil</a:t>
            </a:r>
          </a:p>
        </p:txBody>
      </p:sp>
      <p:sp>
        <p:nvSpPr>
          <p:cNvPr id="3" name="Plassholder for bilde 2"/>
          <p:cNvSpPr>
            <a:spLocks noGrp="1"/>
          </p:cNvSpPr>
          <p:nvPr>
            <p:ph type="pic" idx="1"/>
          </p:nvPr>
        </p:nvSpPr>
        <p:spPr>
          <a:xfrm>
            <a:off x="2389717" y="612775"/>
            <a:ext cx="7315200" cy="4114800"/>
          </a:xfrm>
        </p:spPr>
        <p:txBody>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endParaRPr lang="nb-NO"/>
          </a:p>
        </p:txBody>
      </p:sp>
      <p:sp>
        <p:nvSpPr>
          <p:cNvPr id="4" name="Plassholder for tekst 3"/>
          <p:cNvSpPr>
            <a:spLocks noGrp="1"/>
          </p:cNvSpPr>
          <p:nvPr>
            <p:ph type="body" sz="half" idx="2"/>
          </p:nvPr>
        </p:nvSpPr>
        <p:spPr>
          <a:xfrm>
            <a:off x="2389717" y="5367338"/>
            <a:ext cx="7315200" cy="804863"/>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nb-NO"/>
              <a:t>Klikk for å redigere tekststiler i malen</a:t>
            </a:r>
          </a:p>
        </p:txBody>
      </p:sp>
    </p:spTree>
    <p:extLst>
      <p:ext uri="{BB962C8B-B14F-4D97-AF65-F5344CB8AC3E}">
        <p14:creationId xmlns:p14="http://schemas.microsoft.com/office/powerpoint/2010/main" val="353223685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ittel 1"/>
          <p:cNvSpPr>
            <a:spLocks noGrp="1"/>
          </p:cNvSpPr>
          <p:nvPr>
            <p:ph type="title"/>
          </p:nvPr>
        </p:nvSpPr>
        <p:spPr>
          <a:xfrm>
            <a:off x="1592837" y="274639"/>
            <a:ext cx="9876539" cy="1143000"/>
          </a:xfrm>
          <a:prstGeom prst="rect">
            <a:avLst/>
          </a:prstGeom>
        </p:spPr>
        <p:txBody>
          <a:bodyPr vert="horz" lIns="91440" tIns="45720" rIns="91440" bIns="45720" rtlCol="0" anchor="ctr">
            <a:normAutofit/>
          </a:bodyPr>
          <a:lstStyle/>
          <a:p>
            <a:r>
              <a:rPr lang="nb-NO" dirty="0"/>
              <a:t>Klikk for å redigere tittelstil</a:t>
            </a:r>
          </a:p>
        </p:txBody>
      </p:sp>
      <p:sp>
        <p:nvSpPr>
          <p:cNvPr id="3" name="Plassholder for tekst 2"/>
          <p:cNvSpPr>
            <a:spLocks noGrp="1"/>
          </p:cNvSpPr>
          <p:nvPr>
            <p:ph type="body" idx="1"/>
          </p:nvPr>
        </p:nvSpPr>
        <p:spPr>
          <a:xfrm>
            <a:off x="1592837" y="1600201"/>
            <a:ext cx="9876539" cy="4525963"/>
          </a:xfrm>
          <a:prstGeom prst="rect">
            <a:avLst/>
          </a:prstGeom>
        </p:spPr>
        <p:txBody>
          <a:bodyPr vert="horz" lIns="91440" tIns="45720" rIns="91440" bIns="45720" rtlCol="0">
            <a:normAutofit/>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pic>
        <p:nvPicPr>
          <p:cNvPr id="5" name="Bilde 4" descr="stripe_16_9.jpg"/>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240000" y="0"/>
            <a:ext cx="860803" cy="6858000"/>
          </a:xfrm>
          <a:prstGeom prst="rect">
            <a:avLst/>
          </a:prstGeom>
        </p:spPr>
      </p:pic>
      <p:sp>
        <p:nvSpPr>
          <p:cNvPr id="4" name="Rectangle 3"/>
          <p:cNvSpPr/>
          <p:nvPr userDrawn="1"/>
        </p:nvSpPr>
        <p:spPr>
          <a:xfrm>
            <a:off x="1100803" y="1"/>
            <a:ext cx="240000" cy="6858000"/>
          </a:xfrm>
          <a:prstGeom prst="rect">
            <a:avLst/>
          </a:prstGeom>
          <a:solidFill>
            <a:srgbClr val="01509E"/>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3200"/>
          </a:p>
        </p:txBody>
      </p:sp>
      <p:sp>
        <p:nvSpPr>
          <p:cNvPr id="6" name="Rectangle 5"/>
          <p:cNvSpPr/>
          <p:nvPr userDrawn="1"/>
        </p:nvSpPr>
        <p:spPr>
          <a:xfrm>
            <a:off x="0" y="1"/>
            <a:ext cx="240000" cy="6858000"/>
          </a:xfrm>
          <a:prstGeom prst="rect">
            <a:avLst/>
          </a:prstGeom>
          <a:solidFill>
            <a:srgbClr val="01509E"/>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3200"/>
          </a:p>
        </p:txBody>
      </p:sp>
    </p:spTree>
    <p:extLst>
      <p:ext uri="{BB962C8B-B14F-4D97-AF65-F5344CB8AC3E}">
        <p14:creationId xmlns:p14="http://schemas.microsoft.com/office/powerpoint/2010/main" val="577798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sldNum="0" hdr="0" ftr="0" dt="0"/>
  <p:txStyles>
    <p:titleStyle>
      <a:lvl1pPr algn="l" defTabSz="609585" rtl="0" eaLnBrk="1" latinLnBrk="0" hangingPunct="1">
        <a:spcBef>
          <a:spcPct val="0"/>
        </a:spcBef>
        <a:buNone/>
        <a:defRPr sz="4800" b="1" i="0" kern="1200">
          <a:solidFill>
            <a:schemeClr val="tx1"/>
          </a:solidFill>
          <a:latin typeface="Arial"/>
          <a:ea typeface="+mj-ea"/>
          <a:cs typeface="Arial"/>
        </a:defRPr>
      </a:lvl1pPr>
    </p:titleStyle>
    <p:bodyStyle>
      <a:lvl1pPr marL="457189" indent="-457189" algn="l" defTabSz="609585" rtl="0" eaLnBrk="1" latinLnBrk="0" hangingPunct="1">
        <a:spcBef>
          <a:spcPct val="20000"/>
        </a:spcBef>
        <a:buFont typeface="Arial"/>
        <a:buChar char="•"/>
        <a:defRPr sz="3200" kern="1200">
          <a:solidFill>
            <a:schemeClr val="tx1"/>
          </a:solidFill>
          <a:latin typeface="Arial"/>
          <a:ea typeface="+mn-ea"/>
          <a:cs typeface="Arial"/>
        </a:defRPr>
      </a:lvl1pPr>
      <a:lvl2pPr marL="990575" indent="-380990" algn="l" defTabSz="609585" rtl="0" eaLnBrk="1" latinLnBrk="0" hangingPunct="1">
        <a:spcBef>
          <a:spcPct val="20000"/>
        </a:spcBef>
        <a:buFont typeface="Arial"/>
        <a:buChar char="–"/>
        <a:defRPr sz="2667" kern="1200">
          <a:solidFill>
            <a:schemeClr val="tx1"/>
          </a:solidFill>
          <a:latin typeface="Arial"/>
          <a:ea typeface="+mn-ea"/>
          <a:cs typeface="Arial"/>
        </a:defRPr>
      </a:lvl2pPr>
      <a:lvl3pPr marL="1523962" indent="-304792" algn="l" defTabSz="609585" rtl="0" eaLnBrk="1" latinLnBrk="0" hangingPunct="1">
        <a:spcBef>
          <a:spcPct val="20000"/>
        </a:spcBef>
        <a:buFont typeface="Arial"/>
        <a:buChar char="•"/>
        <a:defRPr sz="240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2133"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1867"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nb-NO"/>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4.png"/><Relationship Id="rId4" Type="http://schemas.openxmlformats.org/officeDocument/2006/relationships/image" Target="../media/image3.jpg"/></Relationships>
</file>

<file path=ppt/slides/_rels/slide10.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Layout" Target="../slideLayouts/slideLayout2.xml"/><Relationship Id="rId7" Type="http://schemas.openxmlformats.org/officeDocument/2006/relationships/image" Target="../media/image14.jpeg"/><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5.emf"/><Relationship Id="rId5" Type="http://schemas.openxmlformats.org/officeDocument/2006/relationships/oleObject" Target="../embeddings/oleObject1.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8" Type="http://schemas.openxmlformats.org/officeDocument/2006/relationships/image" Target="../media/image17.jpeg"/><Relationship Id="rId3" Type="http://schemas.openxmlformats.org/officeDocument/2006/relationships/video" Target="https://www.youtube.com/embed/PJLCDbTZl80?feature=oembed" TargetMode="External"/><Relationship Id="rId7" Type="http://schemas.openxmlformats.org/officeDocument/2006/relationships/image" Target="../media/image5.emf"/><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oleObject" Target="../embeddings/oleObject1.bin"/><Relationship Id="rId5" Type="http://schemas.openxmlformats.org/officeDocument/2006/relationships/notesSlide" Target="../notesSlides/notesSlide11.xml"/><Relationship Id="rId4"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slideLayout" Target="../slideLayouts/slideLayout2.xml"/><Relationship Id="rId7" Type="http://schemas.openxmlformats.org/officeDocument/2006/relationships/image" Target="../media/image18.pn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5.emf"/><Relationship Id="rId5" Type="http://schemas.openxmlformats.org/officeDocument/2006/relationships/oleObject" Target="../embeddings/oleObject1.bin"/><Relationship Id="rId4" Type="http://schemas.openxmlformats.org/officeDocument/2006/relationships/notesSlide" Target="../notesSlides/notesSlide12.xml"/><Relationship Id="rId9" Type="http://schemas.openxmlformats.org/officeDocument/2006/relationships/image" Target="../media/image20.png"/></Relationships>
</file>

<file path=ppt/slides/_rels/slide13.xml.rels><?xml version="1.0" encoding="UTF-8" standalone="yes"?>
<Relationships xmlns="http://schemas.openxmlformats.org/package/2006/relationships"><Relationship Id="rId8" Type="http://schemas.openxmlformats.org/officeDocument/2006/relationships/image" Target="../media/image21.jpeg"/><Relationship Id="rId3" Type="http://schemas.openxmlformats.org/officeDocument/2006/relationships/video" Target="https://www.youtube.com/embed/HkjOq2PZWUQ?feature=oembed" TargetMode="External"/><Relationship Id="rId7" Type="http://schemas.openxmlformats.org/officeDocument/2006/relationships/image" Target="../media/image5.emf"/><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oleObject" Target="../embeddings/oleObject1.bin"/><Relationship Id="rId5" Type="http://schemas.openxmlformats.org/officeDocument/2006/relationships/notesSlide" Target="../notesSlides/notesSlide13.xml"/><Relationship Id="rId4"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slideLayout" Target="../slideLayouts/slideLayout2.xml"/><Relationship Id="rId7" Type="http://schemas.openxmlformats.org/officeDocument/2006/relationships/image" Target="../media/image22.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5.emf"/><Relationship Id="rId5" Type="http://schemas.openxmlformats.org/officeDocument/2006/relationships/oleObject" Target="../embeddings/oleObject1.bin"/><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slideLayout" Target="../slideLayouts/slideLayout2.xml"/><Relationship Id="rId7" Type="http://schemas.openxmlformats.org/officeDocument/2006/relationships/image" Target="../media/image24.pn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5.emf"/><Relationship Id="rId5" Type="http://schemas.openxmlformats.org/officeDocument/2006/relationships/oleObject" Target="../embeddings/oleObject1.bin"/><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8" Type="http://schemas.openxmlformats.org/officeDocument/2006/relationships/hyperlink" Target="https://www.dnv.com/Videos/digital-twin-one-platform-bringing-experts-together-169532" TargetMode="External"/><Relationship Id="rId3" Type="http://schemas.openxmlformats.org/officeDocument/2006/relationships/video" Target="https://www.youtube.com/embed/7JHIbv-jMno?feature=oembed" TargetMode="External"/><Relationship Id="rId7" Type="http://schemas.openxmlformats.org/officeDocument/2006/relationships/image" Target="../media/image5.emf"/><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oleObject" Target="../embeddings/oleObject1.bin"/><Relationship Id="rId5" Type="http://schemas.openxmlformats.org/officeDocument/2006/relationships/notesSlide" Target="../notesSlides/notesSlide16.xml"/><Relationship Id="rId10" Type="http://schemas.openxmlformats.org/officeDocument/2006/relationships/image" Target="../media/image27.jpeg"/><Relationship Id="rId4" Type="http://schemas.openxmlformats.org/officeDocument/2006/relationships/slideLayout" Target="../slideLayouts/slideLayout2.xml"/><Relationship Id="rId9" Type="http://schemas.openxmlformats.org/officeDocument/2006/relationships/image" Target="../media/image26.jpeg"/></Relationships>
</file>

<file path=ppt/slides/_rels/slide17.xml.rels><?xml version="1.0" encoding="UTF-8" standalone="yes"?>
<Relationships xmlns="http://schemas.openxmlformats.org/package/2006/relationships"><Relationship Id="rId8" Type="http://schemas.openxmlformats.org/officeDocument/2006/relationships/hyperlink" Target="https://www.dnv.com/Videos/digital-twin-one-platform-bringing-experts-together-169532" TargetMode="External"/><Relationship Id="rId3" Type="http://schemas.openxmlformats.org/officeDocument/2006/relationships/video" Target="https://www.youtube.com/embed/Jyu579PPxdE?feature=oembed" TargetMode="External"/><Relationship Id="rId7" Type="http://schemas.openxmlformats.org/officeDocument/2006/relationships/image" Target="../media/image5.emf"/><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oleObject" Target="../embeddings/oleObject1.bin"/><Relationship Id="rId5" Type="http://schemas.openxmlformats.org/officeDocument/2006/relationships/notesSlide" Target="../notesSlides/notesSlide17.xml"/><Relationship Id="rId4" Type="http://schemas.openxmlformats.org/officeDocument/2006/relationships/slideLayout" Target="../slideLayouts/slideLayout2.xml"/><Relationship Id="rId9" Type="http://schemas.openxmlformats.org/officeDocument/2006/relationships/image" Target="../media/image28.jpeg"/></Relationships>
</file>

<file path=ppt/slides/_rels/slide18.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slideLayout" Target="../slideLayouts/slideLayout2.xml"/><Relationship Id="rId7" Type="http://schemas.openxmlformats.org/officeDocument/2006/relationships/hyperlink" Target="https://www.dnv.com/Videos/digital-twin-one-platform-bringing-experts-together-169532" TargetMode="Externa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5.emf"/><Relationship Id="rId5" Type="http://schemas.openxmlformats.org/officeDocument/2006/relationships/oleObject" Target="../embeddings/oleObject1.bin"/><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8" Type="http://schemas.openxmlformats.org/officeDocument/2006/relationships/hyperlink" Target="https://www.dnv.com/Videos/digital-twin-one-platform-bringing-experts-together-169532" TargetMode="External"/><Relationship Id="rId3" Type="http://schemas.openxmlformats.org/officeDocument/2006/relationships/video" Target="https://player.vimeo.com/video/675802518?h=664b98d7b4&amp;app_id=122963" TargetMode="External"/><Relationship Id="rId7" Type="http://schemas.openxmlformats.org/officeDocument/2006/relationships/image" Target="../media/image5.emf"/><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oleObject" Target="../embeddings/oleObject1.bin"/><Relationship Id="rId5" Type="http://schemas.openxmlformats.org/officeDocument/2006/relationships/notesSlide" Target="../notesSlides/notesSlide19.xml"/><Relationship Id="rId4" Type="http://schemas.openxmlformats.org/officeDocument/2006/relationships/slideLayout" Target="../slideLayouts/slideLayout2.xml"/><Relationship Id="rId9" Type="http://schemas.openxmlformats.org/officeDocument/2006/relationships/image" Target="../media/image30.jpe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6.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5.emf"/><Relationship Id="rId5" Type="http://schemas.openxmlformats.org/officeDocument/2006/relationships/oleObject" Target="../embeddings/oleObject1.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8" Type="http://schemas.openxmlformats.org/officeDocument/2006/relationships/hyperlink" Target="https://www.dnv.com/Videos/digital-twin-one-platform-bringing-experts-together-169532" TargetMode="External"/><Relationship Id="rId3" Type="http://schemas.openxmlformats.org/officeDocument/2006/relationships/video" Target="https://player.vimeo.com/video/486830078?h=3740f13973&amp;app_id=122963" TargetMode="External"/><Relationship Id="rId7" Type="http://schemas.openxmlformats.org/officeDocument/2006/relationships/image" Target="../media/image5.emf"/><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oleObject" Target="../embeddings/oleObject1.bin"/><Relationship Id="rId5" Type="http://schemas.openxmlformats.org/officeDocument/2006/relationships/notesSlide" Target="../notesSlides/notesSlide20.xml"/><Relationship Id="rId4" Type="http://schemas.openxmlformats.org/officeDocument/2006/relationships/slideLayout" Target="../slideLayouts/slideLayout2.xml"/><Relationship Id="rId9" Type="http://schemas.openxmlformats.org/officeDocument/2006/relationships/image" Target="../media/image31.jpeg"/></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hyperlink" Target="https://www.dnv.com/Videos/digital-twin-one-platform-bringing-experts-together-169532" TargetMode="Externa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5.emf"/><Relationship Id="rId5" Type="http://schemas.openxmlformats.org/officeDocument/2006/relationships/oleObject" Target="../embeddings/oleObject1.bin"/><Relationship Id="rId4" Type="http://schemas.openxmlformats.org/officeDocument/2006/relationships/notesSlide" Target="../notesSlides/notesSlide21.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7.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5.emf"/><Relationship Id="rId5" Type="http://schemas.openxmlformats.org/officeDocument/2006/relationships/oleObject" Target="../embeddings/oleObject1.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8.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5.emf"/><Relationship Id="rId5" Type="http://schemas.openxmlformats.org/officeDocument/2006/relationships/oleObject" Target="../embeddings/oleObject1.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8" Type="http://schemas.openxmlformats.org/officeDocument/2006/relationships/image" Target="../media/image10.jpeg"/><Relationship Id="rId3" Type="http://schemas.openxmlformats.org/officeDocument/2006/relationships/slideLayout" Target="../slideLayouts/slideLayout2.xml"/><Relationship Id="rId7" Type="http://schemas.openxmlformats.org/officeDocument/2006/relationships/image" Target="../media/image9.pn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5.emf"/><Relationship Id="rId5" Type="http://schemas.openxmlformats.org/officeDocument/2006/relationships/oleObject" Target="../embeddings/oleObject1.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video" Target="https://www.youtube.com/embed/eJx7T-H00SE?feature=oembed" TargetMode="External"/><Relationship Id="rId7" Type="http://schemas.openxmlformats.org/officeDocument/2006/relationships/image" Target="../media/image5.emf"/><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oleObject" Target="../embeddings/oleObject1.bin"/><Relationship Id="rId5" Type="http://schemas.openxmlformats.org/officeDocument/2006/relationships/notesSlide" Target="../notesSlides/notesSlide6.xml"/><Relationship Id="rId4"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hyperlink" Target="https://perthsim.com/virtual-prototyping/" TargetMode="External"/><Relationship Id="rId3" Type="http://schemas.openxmlformats.org/officeDocument/2006/relationships/video" Target="https://www.youtube.com/embed/FO4wIz7h4qs?start=99&amp;feature=oembed" TargetMode="External"/><Relationship Id="rId7" Type="http://schemas.openxmlformats.org/officeDocument/2006/relationships/image" Target="../media/image5.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1.bin"/><Relationship Id="rId5" Type="http://schemas.openxmlformats.org/officeDocument/2006/relationships/notesSlide" Target="../notesSlides/notesSlide7.xml"/><Relationship Id="rId4" Type="http://schemas.openxmlformats.org/officeDocument/2006/relationships/slideLayout" Target="../slideLayouts/slideLayout2.xml"/><Relationship Id="rId9" Type="http://schemas.openxmlformats.org/officeDocument/2006/relationships/image" Target="../media/image12.jpeg"/></Relationships>
</file>

<file path=ppt/slides/_rels/slide8.xml.rels><?xml version="1.0" encoding="UTF-8" standalone="yes"?>
<Relationships xmlns="http://schemas.openxmlformats.org/package/2006/relationships"><Relationship Id="rId8" Type="http://schemas.openxmlformats.org/officeDocument/2006/relationships/image" Target="../media/image14.jpeg"/><Relationship Id="rId3" Type="http://schemas.openxmlformats.org/officeDocument/2006/relationships/slideLayout" Target="../slideLayouts/slideLayout2.xml"/><Relationship Id="rId7" Type="http://schemas.openxmlformats.org/officeDocument/2006/relationships/image" Target="../media/image13.jpe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5.emf"/><Relationship Id="rId5" Type="http://schemas.openxmlformats.org/officeDocument/2006/relationships/oleObject" Target="../embeddings/oleObject1.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5.pn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5.emf"/><Relationship Id="rId5" Type="http://schemas.openxmlformats.org/officeDocument/2006/relationships/oleObject" Target="../embeddings/oleObject1.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Bilde 1">
            <a:extLst>
              <a:ext uri="{FF2B5EF4-FFF2-40B4-BE49-F238E27FC236}">
                <a16:creationId xmlns:a16="http://schemas.microsoft.com/office/drawing/2014/main" id="{7B62D430-31DD-423E-96FA-5CBCF98D6A58}"/>
              </a:ext>
            </a:extLst>
          </p:cNvPr>
          <p:cNvPicPr>
            <a:picLocks noChangeAspect="1"/>
          </p:cNvPicPr>
          <p:nvPr/>
        </p:nvPicPr>
        <p:blipFill>
          <a:blip r:embed="rId3"/>
          <a:stretch>
            <a:fillRect/>
          </a:stretch>
        </p:blipFill>
        <p:spPr>
          <a:xfrm>
            <a:off x="1326593" y="0"/>
            <a:ext cx="10933093" cy="6858000"/>
          </a:xfrm>
          <a:prstGeom prst="rect">
            <a:avLst/>
          </a:prstGeom>
        </p:spPr>
      </p:pic>
      <p:sp>
        <p:nvSpPr>
          <p:cNvPr id="2" name="Tittel 1"/>
          <p:cNvSpPr>
            <a:spLocks noGrp="1"/>
          </p:cNvSpPr>
          <p:nvPr>
            <p:ph type="ctrTitle"/>
          </p:nvPr>
        </p:nvSpPr>
        <p:spPr>
          <a:xfrm>
            <a:off x="1427049" y="397653"/>
            <a:ext cx="10532274" cy="853298"/>
          </a:xfrm>
        </p:spPr>
        <p:txBody>
          <a:bodyPr>
            <a:noAutofit/>
          </a:bodyPr>
          <a:lstStyle/>
          <a:p>
            <a:pPr algn="ctr"/>
            <a:r>
              <a:rPr lang="en-US" altLang="zh-CN" sz="4000" dirty="0">
                <a:solidFill>
                  <a:schemeClr val="bg1"/>
                </a:solidFill>
                <a:latin typeface="Arial" panose="020B0604020202020204" pitchFamily="34" charset="0"/>
                <a:cs typeface="Arial" panose="020B0604020202020204" pitchFamily="34" charset="0"/>
              </a:rPr>
              <a:t>Practical applications in marine robotics </a:t>
            </a:r>
            <a:br>
              <a:rPr lang="en-US" altLang="zh-CN" sz="2800" dirty="0">
                <a:latin typeface="Arial" panose="020B0604020202020204" pitchFamily="34" charset="0"/>
                <a:cs typeface="Arial" panose="020B0604020202020204" pitchFamily="34" charset="0"/>
              </a:rPr>
            </a:br>
            <a:br>
              <a:rPr lang="en-GB" sz="2800" dirty="0">
                <a:latin typeface="Arial" panose="020B0604020202020204" pitchFamily="34" charset="0"/>
                <a:cs typeface="Arial" panose="020B0604020202020204" pitchFamily="34" charset="0"/>
              </a:rPr>
            </a:br>
            <a:endParaRPr lang="en-US" sz="2800" b="0" i="1" dirty="0">
              <a:solidFill>
                <a:schemeClr val="bg1">
                  <a:lumMod val="65000"/>
                </a:schemeClr>
              </a:solidFill>
            </a:endParaRPr>
          </a:p>
        </p:txBody>
      </p:sp>
      <p:sp>
        <p:nvSpPr>
          <p:cNvPr id="3" name="Undertittel 2"/>
          <p:cNvSpPr>
            <a:spLocks noGrp="1"/>
          </p:cNvSpPr>
          <p:nvPr>
            <p:ph type="subTitle" idx="1"/>
          </p:nvPr>
        </p:nvSpPr>
        <p:spPr>
          <a:xfrm>
            <a:off x="1498600" y="4758618"/>
            <a:ext cx="10602103" cy="1813920"/>
          </a:xfrm>
        </p:spPr>
        <p:txBody>
          <a:bodyPr>
            <a:normAutofit/>
          </a:bodyPr>
          <a:lstStyle/>
          <a:p>
            <a:pPr algn="ctr"/>
            <a:r>
              <a:rPr lang="en-US" altLang="zh-CN" sz="1800" dirty="0">
                <a:solidFill>
                  <a:schemeClr val="bg1"/>
                </a:solidFill>
                <a:latin typeface="Arial" panose="020B0604020202020204" pitchFamily="34" charset="0"/>
                <a:cs typeface="Arial" panose="020B0604020202020204" pitchFamily="34" charset="0"/>
              </a:rPr>
              <a:t>Lecturer Tongtong Wang</a:t>
            </a:r>
          </a:p>
          <a:p>
            <a:pPr algn="ctr"/>
            <a:r>
              <a:rPr lang="en-US" sz="1800" dirty="0">
                <a:solidFill>
                  <a:schemeClr val="bg1"/>
                </a:solidFill>
                <a:latin typeface="Arial" panose="020B0604020202020204" pitchFamily="34" charset="0"/>
                <a:cs typeface="Arial" panose="020B0604020202020204" pitchFamily="34" charset="0"/>
              </a:rPr>
              <a:t>tongtong.wang@ntnu.no</a:t>
            </a:r>
            <a:endParaRPr lang="nb-NO" sz="1800" dirty="0">
              <a:solidFill>
                <a:schemeClr val="bg1"/>
              </a:solidFill>
              <a:latin typeface="Arial" panose="020B0604020202020204" pitchFamily="34" charset="0"/>
              <a:cs typeface="Arial" panose="020B0604020202020204" pitchFamily="34" charset="0"/>
            </a:endParaRPr>
          </a:p>
          <a:p>
            <a:pPr algn="ctr"/>
            <a:r>
              <a:rPr lang="en-US" sz="1800" dirty="0">
                <a:solidFill>
                  <a:schemeClr val="bg1"/>
                </a:solidFill>
                <a:latin typeface="Arial" panose="020B0604020202020204" pitchFamily="34" charset="0"/>
                <a:cs typeface="Arial" panose="020B0604020202020204" pitchFamily="34" charset="0"/>
              </a:rPr>
              <a:t>Department of Ocean Operations and Civil Engineering</a:t>
            </a:r>
          </a:p>
          <a:p>
            <a:pPr algn="ctr"/>
            <a:r>
              <a:rPr lang="en-US" sz="1800" dirty="0">
                <a:solidFill>
                  <a:schemeClr val="bg1"/>
                </a:solidFill>
                <a:latin typeface="Arial" panose="020B0604020202020204" pitchFamily="34" charset="0"/>
                <a:cs typeface="Arial" panose="020B0604020202020204" pitchFamily="34" charset="0"/>
              </a:rPr>
              <a:t>Norwegian University of Science and Technology</a:t>
            </a:r>
          </a:p>
        </p:txBody>
      </p:sp>
      <p:pic>
        <p:nvPicPr>
          <p:cNvPr id="6" name="Bilde 5" descr="stripe_tekst_eng_16_9.jp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40000" y="0"/>
            <a:ext cx="860803" cy="6858000"/>
          </a:xfrm>
          <a:prstGeom prst="rect">
            <a:avLst/>
          </a:prstGeom>
        </p:spPr>
      </p:pic>
      <p:sp>
        <p:nvSpPr>
          <p:cNvPr id="9" name="Subtitle 2"/>
          <p:cNvSpPr txBox="1">
            <a:spLocks/>
          </p:cNvSpPr>
          <p:nvPr/>
        </p:nvSpPr>
        <p:spPr>
          <a:xfrm>
            <a:off x="1575755" y="5811491"/>
            <a:ext cx="10383568" cy="445675"/>
          </a:xfrm>
          <a:prstGeom prst="rect">
            <a:avLst/>
          </a:prstGeom>
        </p:spPr>
        <p:txBody>
          <a:bodyPr vert="horz" lIns="121920" tIns="60960" rIns="121920" bIns="60960" rtlCol="0">
            <a:noAutofit/>
          </a:bodyPr>
          <a:lstStyle>
            <a:lvl1pPr marL="0" indent="0" algn="l" defTabSz="457200" rtl="0" eaLnBrk="1" latinLnBrk="0" hangingPunct="1">
              <a:spcBef>
                <a:spcPct val="20000"/>
              </a:spcBef>
              <a:buFont typeface="Arial"/>
              <a:buNone/>
              <a:defRPr sz="2400" kern="1200">
                <a:solidFill>
                  <a:schemeClr val="tx1">
                    <a:tint val="75000"/>
                  </a:schemeClr>
                </a:solidFill>
                <a:latin typeface="Arial"/>
                <a:ea typeface="+mn-ea"/>
                <a:cs typeface="Arial"/>
              </a:defRPr>
            </a:lvl1pPr>
            <a:lvl2pPr marL="457200" indent="0" algn="ctr" defTabSz="457200" rtl="0" eaLnBrk="1" latinLnBrk="0" hangingPunct="1">
              <a:spcBef>
                <a:spcPct val="20000"/>
              </a:spcBef>
              <a:buFont typeface="Arial"/>
              <a:buNone/>
              <a:defRPr sz="2000" kern="1200">
                <a:solidFill>
                  <a:schemeClr val="tx1">
                    <a:tint val="75000"/>
                  </a:schemeClr>
                </a:solidFill>
                <a:latin typeface="Arial"/>
                <a:ea typeface="+mn-ea"/>
                <a:cs typeface="Arial"/>
              </a:defRPr>
            </a:lvl2pPr>
            <a:lvl3pPr marL="914400" indent="0" algn="ctr" defTabSz="457200" rtl="0" eaLnBrk="1" latinLnBrk="0" hangingPunct="1">
              <a:spcBef>
                <a:spcPct val="20000"/>
              </a:spcBef>
              <a:buFont typeface="Arial"/>
              <a:buNone/>
              <a:defRPr sz="1800" kern="1200">
                <a:solidFill>
                  <a:schemeClr val="tx1">
                    <a:tint val="75000"/>
                  </a:schemeClr>
                </a:solidFill>
                <a:latin typeface="Arial"/>
                <a:ea typeface="+mn-ea"/>
                <a:cs typeface="Arial"/>
              </a:defRPr>
            </a:lvl3pPr>
            <a:lvl4pPr marL="1371600" indent="0" algn="ctr" defTabSz="457200" rtl="0" eaLnBrk="1" latinLnBrk="0" hangingPunct="1">
              <a:spcBef>
                <a:spcPct val="20000"/>
              </a:spcBef>
              <a:buFont typeface="Arial"/>
              <a:buNone/>
              <a:defRPr sz="1600" kern="1200">
                <a:solidFill>
                  <a:schemeClr val="tx1">
                    <a:tint val="75000"/>
                  </a:schemeClr>
                </a:solidFill>
                <a:latin typeface="Arial"/>
                <a:ea typeface="+mn-ea"/>
                <a:cs typeface="Arial"/>
              </a:defRPr>
            </a:lvl4pPr>
            <a:lvl5pPr marL="1828800" indent="0" algn="ctr" defTabSz="457200" rtl="0" eaLnBrk="1" latinLnBrk="0" hangingPunct="1">
              <a:spcBef>
                <a:spcPct val="20000"/>
              </a:spcBef>
              <a:buFont typeface="Arial"/>
              <a:buNone/>
              <a:defRPr sz="1400" kern="1200">
                <a:solidFill>
                  <a:schemeClr val="tx1">
                    <a:tint val="75000"/>
                  </a:schemeClr>
                </a:solidFill>
                <a:latin typeface="Arial"/>
                <a:ea typeface="+mn-ea"/>
                <a:cs typeface="Arial"/>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ctr"/>
            <a:r>
              <a:rPr lang="en-US" altLang="zh-CN" sz="1800" dirty="0">
                <a:solidFill>
                  <a:schemeClr val="bg1"/>
                </a:solidFill>
                <a:latin typeface="Arial" panose="020B0604020202020204" pitchFamily="34" charset="0"/>
                <a:cs typeface="Arial" panose="020B0604020202020204" pitchFamily="34" charset="0"/>
              </a:rPr>
              <a:t>05</a:t>
            </a:r>
            <a:r>
              <a:rPr lang="nb-NO" sz="1800" dirty="0">
                <a:solidFill>
                  <a:schemeClr val="bg1"/>
                </a:solidFill>
                <a:latin typeface="Arial" panose="020B0604020202020204" pitchFamily="34" charset="0"/>
                <a:cs typeface="Arial" panose="020B0604020202020204" pitchFamily="34" charset="0"/>
              </a:rPr>
              <a:t>/0</a:t>
            </a:r>
            <a:r>
              <a:rPr lang="en-US" altLang="zh-CN" sz="1800" dirty="0">
                <a:solidFill>
                  <a:schemeClr val="bg1"/>
                </a:solidFill>
                <a:latin typeface="Arial" panose="020B0604020202020204" pitchFamily="34" charset="0"/>
                <a:cs typeface="Arial" panose="020B0604020202020204" pitchFamily="34" charset="0"/>
              </a:rPr>
              <a:t>9</a:t>
            </a:r>
            <a:r>
              <a:rPr lang="nb-NO" sz="1800" dirty="0">
                <a:solidFill>
                  <a:schemeClr val="bg1"/>
                </a:solidFill>
                <a:latin typeface="Arial" panose="020B0604020202020204" pitchFamily="34" charset="0"/>
                <a:cs typeface="Arial" panose="020B0604020202020204" pitchFamily="34" charset="0"/>
              </a:rPr>
              <a:t>/202</a:t>
            </a:r>
            <a:r>
              <a:rPr lang="en-US" altLang="zh-CN" sz="1800" dirty="0">
                <a:solidFill>
                  <a:schemeClr val="bg1"/>
                </a:solidFill>
                <a:latin typeface="Arial" panose="020B0604020202020204" pitchFamily="34" charset="0"/>
                <a:cs typeface="Arial" panose="020B0604020202020204" pitchFamily="34" charset="0"/>
              </a:rPr>
              <a:t>2</a:t>
            </a:r>
            <a:endParaRPr lang="nb-NO" sz="1800" dirty="0">
              <a:solidFill>
                <a:schemeClr val="bg1"/>
              </a:solidFill>
              <a:latin typeface="Arial" panose="020B0604020202020204" pitchFamily="34" charset="0"/>
              <a:cs typeface="Arial" panose="020B0604020202020204" pitchFamily="34" charset="0"/>
            </a:endParaRPr>
          </a:p>
        </p:txBody>
      </p:sp>
      <p:pic>
        <p:nvPicPr>
          <p:cNvPr id="1026" name="Picture 1" descr="Logo&#10;&#10;Description automatically generated">
            <a:extLst>
              <a:ext uri="{FF2B5EF4-FFF2-40B4-BE49-F238E27FC236}">
                <a16:creationId xmlns:a16="http://schemas.microsoft.com/office/drawing/2014/main" id="{07809188-BA9D-46F5-A42A-7709EA3E0AE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442038" y="6034329"/>
            <a:ext cx="1743075" cy="790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Box 9">
            <a:extLst>
              <a:ext uri="{FF2B5EF4-FFF2-40B4-BE49-F238E27FC236}">
                <a16:creationId xmlns:a16="http://schemas.microsoft.com/office/drawing/2014/main" id="{CCCA50E0-3D3F-4FEA-B9C8-02C6AD9221C5}"/>
              </a:ext>
            </a:extLst>
          </p:cNvPr>
          <p:cNvSpPr txBox="1"/>
          <p:nvPr/>
        </p:nvSpPr>
        <p:spPr>
          <a:xfrm>
            <a:off x="3445933" y="3807696"/>
            <a:ext cx="6129866" cy="830997"/>
          </a:xfrm>
          <a:prstGeom prst="rect">
            <a:avLst/>
          </a:prstGeom>
          <a:noFill/>
        </p:spPr>
        <p:txBody>
          <a:bodyPr wrap="square">
            <a:spAutoFit/>
          </a:bodyPr>
          <a:lstStyle/>
          <a:p>
            <a:pPr algn="ctr"/>
            <a:r>
              <a:rPr lang="zh-CN" altLang="en-US" sz="2400" dirty="0">
                <a:solidFill>
                  <a:schemeClr val="bg1"/>
                </a:solidFill>
                <a:effectLst/>
                <a:latin typeface="Calibri" panose="020F0502020204030204" pitchFamily="34" charset="0"/>
                <a:ea typeface="DengXian" panose="02010600030101010101" pitchFamily="2" charset="-122"/>
              </a:rPr>
              <a:t>“</a:t>
            </a:r>
            <a:r>
              <a:rPr lang="en-US" sz="2400" dirty="0">
                <a:solidFill>
                  <a:schemeClr val="bg1"/>
                </a:solidFill>
                <a:effectLst/>
                <a:latin typeface="Calibri" panose="020F0502020204030204" pitchFamily="34" charset="0"/>
                <a:ea typeface="DengXian" panose="02010600030101010101" pitchFamily="2" charset="-122"/>
              </a:rPr>
              <a:t>Romanian - Norwegian Strategic Cooperation in Maritime Higher Education</a:t>
            </a:r>
            <a:r>
              <a:rPr lang="zh-CN" altLang="en-US" sz="2400" dirty="0">
                <a:solidFill>
                  <a:schemeClr val="bg1"/>
                </a:solidFill>
                <a:effectLst/>
                <a:latin typeface="Calibri" panose="020F0502020204030204" pitchFamily="34" charset="0"/>
                <a:ea typeface="DengXian" panose="02010600030101010101" pitchFamily="2" charset="-122"/>
              </a:rPr>
              <a:t>”</a:t>
            </a:r>
            <a:endParaRPr lang="en-US" sz="2400" dirty="0">
              <a:solidFill>
                <a:schemeClr val="bg1"/>
              </a:solidFill>
              <a:effectLst/>
              <a:latin typeface="Calibri" panose="020F0502020204030204" pitchFamily="34" charset="0"/>
              <a:ea typeface="DengXian" panose="02010600030101010101" pitchFamily="2" charset="-122"/>
            </a:endParaRPr>
          </a:p>
        </p:txBody>
      </p:sp>
    </p:spTree>
    <p:extLst>
      <p:ext uri="{BB962C8B-B14F-4D97-AF65-F5344CB8AC3E}">
        <p14:creationId xmlns:p14="http://schemas.microsoft.com/office/powerpoint/2010/main" val="324310205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2" name="Object 41" hidden="1">
            <a:extLst>
              <a:ext uri="{FF2B5EF4-FFF2-40B4-BE49-F238E27FC236}">
                <a16:creationId xmlns:a16="http://schemas.microsoft.com/office/drawing/2014/main" id="{301463C9-2282-4A0F-819B-75374BE71C9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42" name="Object 41" hidden="1">
                        <a:extLst>
                          <a:ext uri="{FF2B5EF4-FFF2-40B4-BE49-F238E27FC236}">
                            <a16:creationId xmlns:a16="http://schemas.microsoft.com/office/drawing/2014/main" id="{301463C9-2282-4A0F-819B-75374BE71C9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6" name="Rectangle 45" hidden="1">
            <a:extLst>
              <a:ext uri="{FF2B5EF4-FFF2-40B4-BE49-F238E27FC236}">
                <a16:creationId xmlns:a16="http://schemas.microsoft.com/office/drawing/2014/main" id="{CADF9BBE-ADA6-4A36-A7C9-EC1296DE314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dirty="0">
              <a:latin typeface="Arial" panose="020B0604020202020204" pitchFamily="34" charset="0"/>
              <a:ea typeface="+mj-ea"/>
              <a:cs typeface="Arial" panose="020B0604020202020204" pitchFamily="34" charset="0"/>
              <a:sym typeface="Arial" panose="020B0604020202020204" pitchFamily="34" charset="0"/>
            </a:endParaRPr>
          </a:p>
        </p:txBody>
      </p:sp>
      <p:cxnSp>
        <p:nvCxnSpPr>
          <p:cNvPr id="43" name="Straight Connector 17">
            <a:extLst>
              <a:ext uri="{FF2B5EF4-FFF2-40B4-BE49-F238E27FC236}">
                <a16:creationId xmlns:a16="http://schemas.microsoft.com/office/drawing/2014/main" id="{D619BC49-E4EF-4BC0-B474-609F75846915}"/>
              </a:ext>
            </a:extLst>
          </p:cNvPr>
          <p:cNvCxnSpPr>
            <a:cxnSpLocks/>
          </p:cNvCxnSpPr>
          <p:nvPr/>
        </p:nvCxnSpPr>
        <p:spPr>
          <a:xfrm>
            <a:off x="1659750" y="1181906"/>
            <a:ext cx="997751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5" name="Titel 1">
            <a:extLst>
              <a:ext uri="{FF2B5EF4-FFF2-40B4-BE49-F238E27FC236}">
                <a16:creationId xmlns:a16="http://schemas.microsoft.com/office/drawing/2014/main" id="{ABE05CC7-87A9-4E18-AEA7-3CFE48FBF726}"/>
              </a:ext>
            </a:extLst>
          </p:cNvPr>
          <p:cNvSpPr>
            <a:spLocks noGrp="1"/>
          </p:cNvSpPr>
          <p:nvPr>
            <p:ph type="title"/>
          </p:nvPr>
        </p:nvSpPr>
        <p:spPr>
          <a:xfrm>
            <a:off x="1659750" y="372123"/>
            <a:ext cx="9977511" cy="677691"/>
          </a:xfrm>
        </p:spPr>
        <p:txBody>
          <a:bodyPr>
            <a:noAutofit/>
          </a:bodyPr>
          <a:lstStyle/>
          <a:p>
            <a:br>
              <a:rPr lang="nb-NO" sz="2400" dirty="0">
                <a:solidFill>
                  <a:srgbClr val="01509E"/>
                </a:solidFill>
              </a:rPr>
            </a:br>
            <a:r>
              <a:rPr lang="nb-NO" sz="2400" dirty="0">
                <a:solidFill>
                  <a:srgbClr val="01509E"/>
                </a:solidFill>
              </a:rPr>
              <a:t>Introduction</a:t>
            </a:r>
            <a:br>
              <a:rPr lang="nb-NO" sz="2400" dirty="0">
                <a:solidFill>
                  <a:srgbClr val="01509E"/>
                </a:solidFill>
              </a:rPr>
            </a:br>
            <a:r>
              <a:rPr lang="nb-NO" sz="2000" b="0" dirty="0">
                <a:solidFill>
                  <a:schemeClr val="bg1">
                    <a:lumMod val="50000"/>
                  </a:schemeClr>
                </a:solidFill>
              </a:rPr>
              <a:t>Key </a:t>
            </a:r>
            <a:r>
              <a:rPr lang="nb-NO" sz="2000" b="0" dirty="0" err="1">
                <a:solidFill>
                  <a:schemeClr val="bg1">
                    <a:lumMod val="50000"/>
                  </a:schemeClr>
                </a:solidFill>
              </a:rPr>
              <a:t>technologies</a:t>
            </a:r>
            <a:br>
              <a:rPr lang="en-US" sz="2400" dirty="0">
                <a:latin typeface="Arial" panose="020B0604020202020204" pitchFamily="34" charset="0"/>
                <a:cs typeface="Arial" panose="020B0604020202020204" pitchFamily="34" charset="0"/>
              </a:rPr>
            </a:br>
            <a:endParaRPr lang="en-US" sz="2400" b="0" dirty="0">
              <a:latin typeface="Arial" panose="020B0604020202020204" pitchFamily="34" charset="0"/>
              <a:cs typeface="Arial" panose="020B0604020202020204" pitchFamily="34" charset="0"/>
            </a:endParaRPr>
          </a:p>
        </p:txBody>
      </p:sp>
      <p:sp>
        <p:nvSpPr>
          <p:cNvPr id="7" name="Plassholder for innhold 2">
            <a:extLst>
              <a:ext uri="{FF2B5EF4-FFF2-40B4-BE49-F238E27FC236}">
                <a16:creationId xmlns:a16="http://schemas.microsoft.com/office/drawing/2014/main" id="{63991A79-2DF5-4987-8986-F8B6237BF2C9}"/>
              </a:ext>
            </a:extLst>
          </p:cNvPr>
          <p:cNvSpPr>
            <a:spLocks noGrp="1"/>
          </p:cNvSpPr>
          <p:nvPr>
            <p:ph idx="1"/>
          </p:nvPr>
        </p:nvSpPr>
        <p:spPr>
          <a:xfrm>
            <a:off x="1659748" y="1181905"/>
            <a:ext cx="10309095" cy="4884155"/>
          </a:xfrm>
        </p:spPr>
        <p:txBody>
          <a:bodyPr>
            <a:normAutofit fontScale="92500" lnSpcReduction="20000"/>
          </a:bodyPr>
          <a:lstStyle/>
          <a:p>
            <a:pPr>
              <a:lnSpc>
                <a:spcPct val="110000"/>
              </a:lnSpc>
              <a:buFont typeface="Wingdings" panose="05000000000000000000" pitchFamily="2" charset="2"/>
              <a:buChar char="§"/>
            </a:pPr>
            <a:endParaRPr lang="en-US" sz="2000" dirty="0">
              <a:latin typeface="Arial" panose="020B0604020202020204" pitchFamily="34" charset="0"/>
              <a:cs typeface="Arial" panose="020B0604020202020204" pitchFamily="34" charset="0"/>
            </a:endParaRPr>
          </a:p>
          <a:p>
            <a:pPr>
              <a:lnSpc>
                <a:spcPct val="110000"/>
              </a:lnSpc>
              <a:buFont typeface="Wingdings" panose="05000000000000000000" pitchFamily="2" charset="2"/>
              <a:buChar char="§"/>
            </a:pPr>
            <a:r>
              <a:rPr lang="en-US" sz="2000" dirty="0">
                <a:latin typeface="Arial" panose="020B0604020202020204" pitchFamily="34" charset="0"/>
                <a:cs typeface="Arial" panose="020B0604020202020204" pitchFamily="34" charset="0"/>
              </a:rPr>
              <a:t>Modeling and simulation:</a:t>
            </a:r>
          </a:p>
          <a:p>
            <a:pPr lvl="1">
              <a:lnSpc>
                <a:spcPct val="110000"/>
              </a:lnSpc>
              <a:buFont typeface="Wingdings" panose="05000000000000000000" pitchFamily="2" charset="2"/>
              <a:buChar char="§"/>
            </a:pPr>
            <a:r>
              <a:rPr lang="en-US" sz="1467" dirty="0">
                <a:latin typeface="Arial" panose="020B0604020202020204" pitchFamily="34" charset="0"/>
                <a:cs typeface="Arial" panose="020B0604020202020204" pitchFamily="34" charset="0"/>
              </a:rPr>
              <a:t>Extracting, defining, and describing the key features of a physical entity.</a:t>
            </a:r>
          </a:p>
          <a:p>
            <a:pPr lvl="1">
              <a:lnSpc>
                <a:spcPct val="110000"/>
              </a:lnSpc>
              <a:buFont typeface="Wingdings" panose="05000000000000000000" pitchFamily="2" charset="2"/>
              <a:buChar char="§"/>
            </a:pPr>
            <a:r>
              <a:rPr lang="en-US" sz="1467" dirty="0">
                <a:latin typeface="Arial" panose="020B0604020202020204" pitchFamily="34" charset="0"/>
                <a:cs typeface="Arial" panose="020B0604020202020204" pitchFamily="34" charset="0"/>
              </a:rPr>
              <a:t>The virtual model should be a mirror </a:t>
            </a:r>
            <a:r>
              <a:rPr lang="en-US" sz="1467" dirty="0">
                <a:solidFill>
                  <a:schemeClr val="accent2"/>
                </a:solidFill>
                <a:latin typeface="Arial" panose="020B0604020202020204" pitchFamily="34" charset="0"/>
                <a:cs typeface="Arial" panose="020B0604020202020204" pitchFamily="34" charset="0"/>
              </a:rPr>
              <a:t>reflection</a:t>
            </a:r>
            <a:r>
              <a:rPr lang="en-US" sz="1467" dirty="0">
                <a:latin typeface="Arial" panose="020B0604020202020204" pitchFamily="34" charset="0"/>
                <a:cs typeface="Arial" panose="020B0604020202020204" pitchFamily="34" charset="0"/>
              </a:rPr>
              <a:t> of the physical model.</a:t>
            </a:r>
          </a:p>
          <a:p>
            <a:pPr lvl="1">
              <a:lnSpc>
                <a:spcPct val="110000"/>
              </a:lnSpc>
              <a:buFont typeface="Wingdings" panose="05000000000000000000" pitchFamily="2" charset="2"/>
              <a:buChar char="§"/>
            </a:pPr>
            <a:r>
              <a:rPr lang="en-US" altLang="zh-CN" sz="1467" dirty="0">
                <a:latin typeface="Arial" panose="020B0604020202020204" pitchFamily="34" charset="0"/>
                <a:cs typeface="Arial" panose="020B0604020202020204" pitchFamily="34" charset="0"/>
              </a:rPr>
              <a:t>Continuously </a:t>
            </a:r>
            <a:r>
              <a:rPr lang="en-US" altLang="zh-CN" sz="1467" dirty="0">
                <a:solidFill>
                  <a:schemeClr val="accent2"/>
                </a:solidFill>
                <a:latin typeface="Arial" panose="020B0604020202020204" pitchFamily="34" charset="0"/>
                <a:cs typeface="Arial" panose="020B0604020202020204" pitchFamily="34" charset="0"/>
              </a:rPr>
              <a:t>evolving</a:t>
            </a:r>
            <a:r>
              <a:rPr lang="en-US" altLang="zh-CN" sz="1467" dirty="0">
                <a:latin typeface="Arial" panose="020B0604020202020204" pitchFamily="34" charset="0"/>
                <a:cs typeface="Arial" panose="020B0604020202020204" pitchFamily="34" charset="0"/>
              </a:rPr>
              <a:t> model with new data coming in.</a:t>
            </a:r>
            <a:endParaRPr lang="en-US" sz="1467" dirty="0">
              <a:latin typeface="Arial" panose="020B0604020202020204" pitchFamily="34" charset="0"/>
              <a:cs typeface="Arial" panose="020B0604020202020204" pitchFamily="34" charset="0"/>
            </a:endParaRPr>
          </a:p>
          <a:p>
            <a:pPr>
              <a:lnSpc>
                <a:spcPct val="110000"/>
              </a:lnSpc>
              <a:buFont typeface="Wingdings" panose="05000000000000000000" pitchFamily="2" charset="2"/>
              <a:buChar char="§"/>
            </a:pPr>
            <a:r>
              <a:rPr lang="en-US" sz="2000" dirty="0">
                <a:latin typeface="Arial" panose="020B0604020202020204" pitchFamily="34" charset="0"/>
                <a:cs typeface="Arial" panose="020B0604020202020204" pitchFamily="34" charset="0"/>
              </a:rPr>
              <a:t>Data fusion:</a:t>
            </a:r>
          </a:p>
          <a:p>
            <a:pPr lvl="1">
              <a:lnSpc>
                <a:spcPct val="110000"/>
              </a:lnSpc>
              <a:buFont typeface="Wingdings" panose="05000000000000000000" pitchFamily="2" charset="2"/>
              <a:buChar char="§"/>
            </a:pPr>
            <a:r>
              <a:rPr lang="en-US" sz="1467" dirty="0">
                <a:latin typeface="Arial" panose="020B0604020202020204" pitchFamily="34" charset="0"/>
                <a:cs typeface="Arial" panose="020B0604020202020204" pitchFamily="34" charset="0"/>
              </a:rPr>
              <a:t>DTs must process a massive volume of data collected from a variety of channels.</a:t>
            </a:r>
          </a:p>
          <a:p>
            <a:pPr lvl="2">
              <a:lnSpc>
                <a:spcPct val="110000"/>
              </a:lnSpc>
              <a:buFont typeface="Wingdings" panose="05000000000000000000" pitchFamily="2" charset="2"/>
              <a:buChar char="§"/>
            </a:pPr>
            <a:r>
              <a:rPr lang="en-US" sz="1200" dirty="0">
                <a:latin typeface="Arial" panose="020B0604020202020204" pitchFamily="34" charset="0"/>
                <a:cs typeface="Arial" panose="020B0604020202020204" pitchFamily="34" charset="0"/>
              </a:rPr>
              <a:t>Such as machine, physical environment, virtual space, historical database, etc.</a:t>
            </a:r>
          </a:p>
          <a:p>
            <a:pPr lvl="1">
              <a:lnSpc>
                <a:spcPct val="110000"/>
              </a:lnSpc>
              <a:buFont typeface="Wingdings" panose="05000000000000000000" pitchFamily="2" charset="2"/>
              <a:buChar char="§"/>
            </a:pPr>
            <a:r>
              <a:rPr lang="en-US" sz="1500" dirty="0">
                <a:latin typeface="Arial" panose="020B0604020202020204" pitchFamily="34" charset="0"/>
                <a:cs typeface="Arial" panose="020B0604020202020204" pitchFamily="34" charset="0"/>
              </a:rPr>
              <a:t>The amount of data acquired would be of a substantial size and containing both </a:t>
            </a:r>
            <a:r>
              <a:rPr lang="en-US" sz="1500" dirty="0">
                <a:solidFill>
                  <a:schemeClr val="accent2"/>
                </a:solidFill>
                <a:latin typeface="Arial" panose="020B0604020202020204" pitchFamily="34" charset="0"/>
                <a:cs typeface="Arial" panose="020B0604020202020204" pitchFamily="34" charset="0"/>
              </a:rPr>
              <a:t>unstructured</a:t>
            </a:r>
            <a:r>
              <a:rPr lang="en-US" sz="1500" dirty="0">
                <a:latin typeface="Arial" panose="020B0604020202020204" pitchFamily="34" charset="0"/>
                <a:cs typeface="Arial" panose="020B0604020202020204" pitchFamily="34" charset="0"/>
              </a:rPr>
              <a:t> and </a:t>
            </a:r>
            <a:r>
              <a:rPr lang="en-US" sz="1500" dirty="0">
                <a:solidFill>
                  <a:schemeClr val="accent2"/>
                </a:solidFill>
                <a:latin typeface="Arial" panose="020B0604020202020204" pitchFamily="34" charset="0"/>
                <a:cs typeface="Arial" panose="020B0604020202020204" pitchFamily="34" charset="0"/>
              </a:rPr>
              <a:t>diverse</a:t>
            </a:r>
            <a:r>
              <a:rPr lang="en-US" sz="1500" dirty="0">
                <a:latin typeface="Arial" panose="020B0604020202020204" pitchFamily="34" charset="0"/>
                <a:cs typeface="Arial" panose="020B0604020202020204" pitchFamily="34" charset="0"/>
              </a:rPr>
              <a:t> information</a:t>
            </a:r>
            <a:r>
              <a:rPr lang="en-US" sz="1100" dirty="0">
                <a:latin typeface="Arial" panose="020B0604020202020204" pitchFamily="34" charset="0"/>
                <a:cs typeface="Arial" panose="020B0604020202020204" pitchFamily="34" charset="0"/>
              </a:rPr>
              <a:t>.</a:t>
            </a:r>
            <a:endParaRPr lang="en-US" sz="1467" dirty="0">
              <a:latin typeface="Arial" panose="020B0604020202020204" pitchFamily="34" charset="0"/>
              <a:cs typeface="Arial" panose="020B0604020202020204" pitchFamily="34" charset="0"/>
            </a:endParaRPr>
          </a:p>
          <a:p>
            <a:pPr>
              <a:lnSpc>
                <a:spcPct val="110000"/>
              </a:lnSpc>
              <a:buFont typeface="Wingdings" panose="05000000000000000000" pitchFamily="2" charset="2"/>
              <a:buChar char="§"/>
            </a:pPr>
            <a:r>
              <a:rPr lang="en-US" sz="2000" dirty="0">
                <a:latin typeface="Arial" panose="020B0604020202020204" pitchFamily="34" charset="0"/>
                <a:cs typeface="Arial" panose="020B0604020202020204" pitchFamily="34" charset="0"/>
              </a:rPr>
              <a:t>Interaction and Collaboration:</a:t>
            </a:r>
          </a:p>
          <a:p>
            <a:pPr lvl="1">
              <a:lnSpc>
                <a:spcPct val="110000"/>
              </a:lnSpc>
              <a:buFont typeface="Wingdings" panose="05000000000000000000" pitchFamily="2" charset="2"/>
              <a:buChar char="§"/>
            </a:pPr>
            <a:r>
              <a:rPr lang="en-US" sz="1467" dirty="0">
                <a:latin typeface="Arial" panose="020B0604020202020204" pitchFamily="34" charset="0"/>
                <a:cs typeface="Arial" panose="020B0604020202020204" pitchFamily="34" charset="0"/>
              </a:rPr>
              <a:t>Physical–physical, virtual–virtual, and virtual–physical</a:t>
            </a:r>
          </a:p>
          <a:p>
            <a:pPr lvl="1">
              <a:lnSpc>
                <a:spcPct val="110000"/>
              </a:lnSpc>
              <a:buFont typeface="Wingdings" panose="05000000000000000000" pitchFamily="2" charset="2"/>
              <a:buChar char="§"/>
            </a:pPr>
            <a:r>
              <a:rPr lang="en-US" sz="1467" dirty="0">
                <a:latin typeface="Arial" panose="020B0604020202020204" pitchFamily="34" charset="0"/>
                <a:cs typeface="Arial" panose="020B0604020202020204" pitchFamily="34" charset="0"/>
              </a:rPr>
              <a:t>Through </a:t>
            </a:r>
            <a:r>
              <a:rPr lang="en-US" sz="1467" b="1" dirty="0">
                <a:latin typeface="Arial" panose="020B0604020202020204" pitchFamily="34" charset="0"/>
                <a:cs typeface="Arial" panose="020B0604020202020204" pitchFamily="34" charset="0"/>
              </a:rPr>
              <a:t>physical–physical </a:t>
            </a:r>
            <a:r>
              <a:rPr lang="en-US" sz="1467" dirty="0">
                <a:latin typeface="Arial" panose="020B0604020202020204" pitchFamily="34" charset="0"/>
                <a:cs typeface="Arial" panose="020B0604020202020204" pitchFamily="34" charset="0"/>
              </a:rPr>
              <a:t>interaction and collaboration, multiple physical entities can communicate, coordinate, and collaborate with each other to perform a complex task that cannot be performed by any individual device.</a:t>
            </a:r>
          </a:p>
          <a:p>
            <a:pPr lvl="1">
              <a:lnSpc>
                <a:spcPct val="110000"/>
              </a:lnSpc>
              <a:buFont typeface="Wingdings" panose="05000000000000000000" pitchFamily="2" charset="2"/>
              <a:buChar char="§"/>
            </a:pPr>
            <a:r>
              <a:rPr lang="en-US" sz="1467" dirty="0">
                <a:latin typeface="Arial" panose="020B0604020202020204" pitchFamily="34" charset="0"/>
                <a:cs typeface="Arial" panose="020B0604020202020204" pitchFamily="34" charset="0"/>
              </a:rPr>
              <a:t>Through </a:t>
            </a:r>
            <a:r>
              <a:rPr lang="en-US" sz="1467" b="1" dirty="0">
                <a:latin typeface="Arial" panose="020B0604020202020204" pitchFamily="34" charset="0"/>
                <a:cs typeface="Arial" panose="020B0604020202020204" pitchFamily="34" charset="0"/>
              </a:rPr>
              <a:t>virtual–virtual </a:t>
            </a:r>
            <a:r>
              <a:rPr lang="en-US" sz="1467" dirty="0">
                <a:latin typeface="Arial" panose="020B0604020202020204" pitchFamily="34" charset="0"/>
                <a:cs typeface="Arial" panose="020B0604020202020204" pitchFamily="34" charset="0"/>
              </a:rPr>
              <a:t>interaction and collaboration, multiple virtual models can be connected to form a network for information sharing. </a:t>
            </a:r>
          </a:p>
          <a:p>
            <a:pPr lvl="1">
              <a:lnSpc>
                <a:spcPct val="110000"/>
              </a:lnSpc>
              <a:buFont typeface="Wingdings" panose="05000000000000000000" pitchFamily="2" charset="2"/>
              <a:buChar char="§"/>
            </a:pPr>
            <a:r>
              <a:rPr lang="en-US" sz="1467" dirty="0">
                <a:latin typeface="Arial" panose="020B0604020202020204" pitchFamily="34" charset="0"/>
                <a:cs typeface="Arial" panose="020B0604020202020204" pitchFamily="34" charset="0"/>
              </a:rPr>
              <a:t>Through </a:t>
            </a:r>
            <a:r>
              <a:rPr lang="en-US" sz="1467" b="1" dirty="0">
                <a:latin typeface="Arial" panose="020B0604020202020204" pitchFamily="34" charset="0"/>
                <a:cs typeface="Arial" panose="020B0604020202020204" pitchFamily="34" charset="0"/>
              </a:rPr>
              <a:t>virtual–physical </a:t>
            </a:r>
            <a:r>
              <a:rPr lang="en-US" sz="1467" dirty="0">
                <a:latin typeface="Arial" panose="020B0604020202020204" pitchFamily="34" charset="0"/>
                <a:cs typeface="Arial" panose="020B0604020202020204" pitchFamily="34" charset="0"/>
              </a:rPr>
              <a:t>interaction and collaboration, the virtual model can be optimized in synchronization with the physical object, while the physical object can be dynamically adjusted based on direct orders from the virtual model.</a:t>
            </a:r>
            <a:endParaRPr lang="en-US" sz="2000" dirty="0">
              <a:latin typeface="Arial" panose="020B0604020202020204" pitchFamily="34" charset="0"/>
              <a:cs typeface="Arial" panose="020B0604020202020204" pitchFamily="34" charset="0"/>
            </a:endParaRPr>
          </a:p>
          <a:p>
            <a:pPr>
              <a:lnSpc>
                <a:spcPct val="110000"/>
              </a:lnSpc>
              <a:buFont typeface="Wingdings" panose="05000000000000000000" pitchFamily="2" charset="2"/>
              <a:buChar char="§"/>
            </a:pPr>
            <a:endParaRPr lang="en-US" sz="2000" dirty="0">
              <a:latin typeface="Arial" panose="020B0604020202020204" pitchFamily="34" charset="0"/>
              <a:cs typeface="Arial" panose="020B0604020202020204" pitchFamily="34" charset="0"/>
            </a:endParaRPr>
          </a:p>
          <a:p>
            <a:pPr marL="0" indent="0">
              <a:lnSpc>
                <a:spcPct val="110000"/>
              </a:lnSpc>
              <a:buNone/>
            </a:pPr>
            <a:endParaRPr lang="en-US" sz="2000" dirty="0">
              <a:latin typeface="Arial" panose="020B0604020202020204" pitchFamily="34" charset="0"/>
              <a:cs typeface="Arial" panose="020B0604020202020204" pitchFamily="34" charset="0"/>
            </a:endParaRPr>
          </a:p>
          <a:p>
            <a:pPr>
              <a:lnSpc>
                <a:spcPct val="110000"/>
              </a:lnSpc>
              <a:buFont typeface="Wingdings" panose="05000000000000000000" pitchFamily="2" charset="2"/>
              <a:buChar char="§"/>
            </a:pPr>
            <a:endParaRPr lang="en-US" sz="1900" dirty="0">
              <a:latin typeface="Arial" panose="020B0604020202020204" pitchFamily="34" charset="0"/>
              <a:cs typeface="Arial" panose="020B0604020202020204" pitchFamily="34" charset="0"/>
            </a:endParaRPr>
          </a:p>
          <a:p>
            <a:pPr>
              <a:lnSpc>
                <a:spcPct val="110000"/>
              </a:lnSpc>
              <a:buFont typeface="Wingdings" panose="05000000000000000000" pitchFamily="2" charset="2"/>
              <a:buChar char="§"/>
            </a:pPr>
            <a:endParaRPr lang="en-US" sz="1900" dirty="0">
              <a:latin typeface="Arial" panose="020B0604020202020204" pitchFamily="34" charset="0"/>
              <a:cs typeface="Arial" panose="020B0604020202020204" pitchFamily="34" charset="0"/>
            </a:endParaRPr>
          </a:p>
          <a:p>
            <a:pPr marL="0" indent="0">
              <a:buNone/>
            </a:pPr>
            <a:endParaRPr lang="en-US" sz="1800" dirty="0"/>
          </a:p>
        </p:txBody>
      </p:sp>
      <p:pic>
        <p:nvPicPr>
          <p:cNvPr id="8" name="Picture 18" descr="What is Digital Twin Software">
            <a:extLst>
              <a:ext uri="{FF2B5EF4-FFF2-40B4-BE49-F238E27FC236}">
                <a16:creationId xmlns:a16="http://schemas.microsoft.com/office/drawing/2014/main" id="{E8528E15-5848-437A-9FA9-9D1E767CC3D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837404" y="371526"/>
            <a:ext cx="3207639" cy="2221587"/>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DE20483A-74E8-4E6B-B227-952EA78D9B7B}"/>
              </a:ext>
            </a:extLst>
          </p:cNvPr>
          <p:cNvPicPr>
            <a:picLocks noChangeAspect="1"/>
          </p:cNvPicPr>
          <p:nvPr/>
        </p:nvPicPr>
        <p:blipFill>
          <a:blip r:embed="rId8"/>
          <a:stretch>
            <a:fillRect/>
          </a:stretch>
        </p:blipFill>
        <p:spPr>
          <a:xfrm>
            <a:off x="7185176" y="3781249"/>
            <a:ext cx="4783667" cy="2763896"/>
          </a:xfrm>
          <a:prstGeom prst="rect">
            <a:avLst/>
          </a:prstGeom>
        </p:spPr>
      </p:pic>
    </p:spTree>
    <p:extLst>
      <p:ext uri="{BB962C8B-B14F-4D97-AF65-F5344CB8AC3E}">
        <p14:creationId xmlns:p14="http://schemas.microsoft.com/office/powerpoint/2010/main" val="29588776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2" name="Object 41" hidden="1">
            <a:extLst>
              <a:ext uri="{FF2B5EF4-FFF2-40B4-BE49-F238E27FC236}">
                <a16:creationId xmlns:a16="http://schemas.microsoft.com/office/drawing/2014/main" id="{301463C9-2282-4A0F-819B-75374BE71C9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6" progId="TCLayout.ActiveDocument.1">
                  <p:embed/>
                </p:oleObj>
              </mc:Choice>
              <mc:Fallback>
                <p:oleObj name="think-cell Slide" r:id="rId6" imgW="395" imgH="396" progId="TCLayout.ActiveDocument.1">
                  <p:embed/>
                  <p:pic>
                    <p:nvPicPr>
                      <p:cNvPr id="42" name="Object 41" hidden="1">
                        <a:extLst>
                          <a:ext uri="{FF2B5EF4-FFF2-40B4-BE49-F238E27FC236}">
                            <a16:creationId xmlns:a16="http://schemas.microsoft.com/office/drawing/2014/main" id="{301463C9-2282-4A0F-819B-75374BE71C9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6" name="Rectangle 45" hidden="1">
            <a:extLst>
              <a:ext uri="{FF2B5EF4-FFF2-40B4-BE49-F238E27FC236}">
                <a16:creationId xmlns:a16="http://schemas.microsoft.com/office/drawing/2014/main" id="{CADF9BBE-ADA6-4A36-A7C9-EC1296DE314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dirty="0">
              <a:latin typeface="Arial" panose="020B0604020202020204" pitchFamily="34" charset="0"/>
              <a:ea typeface="+mj-ea"/>
              <a:cs typeface="Arial" panose="020B0604020202020204" pitchFamily="34" charset="0"/>
              <a:sym typeface="Arial" panose="020B0604020202020204" pitchFamily="34" charset="0"/>
            </a:endParaRPr>
          </a:p>
        </p:txBody>
      </p:sp>
      <p:cxnSp>
        <p:nvCxnSpPr>
          <p:cNvPr id="43" name="Straight Connector 17">
            <a:extLst>
              <a:ext uri="{FF2B5EF4-FFF2-40B4-BE49-F238E27FC236}">
                <a16:creationId xmlns:a16="http://schemas.microsoft.com/office/drawing/2014/main" id="{D619BC49-E4EF-4BC0-B474-609F75846915}"/>
              </a:ext>
            </a:extLst>
          </p:cNvPr>
          <p:cNvCxnSpPr>
            <a:cxnSpLocks/>
          </p:cNvCxnSpPr>
          <p:nvPr/>
        </p:nvCxnSpPr>
        <p:spPr>
          <a:xfrm>
            <a:off x="1659750" y="1181906"/>
            <a:ext cx="997751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5" name="Titel 1">
            <a:extLst>
              <a:ext uri="{FF2B5EF4-FFF2-40B4-BE49-F238E27FC236}">
                <a16:creationId xmlns:a16="http://schemas.microsoft.com/office/drawing/2014/main" id="{ABE05CC7-87A9-4E18-AEA7-3CFE48FBF726}"/>
              </a:ext>
            </a:extLst>
          </p:cNvPr>
          <p:cNvSpPr>
            <a:spLocks noGrp="1"/>
          </p:cNvSpPr>
          <p:nvPr>
            <p:ph type="title"/>
          </p:nvPr>
        </p:nvSpPr>
        <p:spPr>
          <a:xfrm>
            <a:off x="1659750" y="372123"/>
            <a:ext cx="9977511" cy="677691"/>
          </a:xfrm>
        </p:spPr>
        <p:txBody>
          <a:bodyPr>
            <a:noAutofit/>
          </a:bodyPr>
          <a:lstStyle/>
          <a:p>
            <a:br>
              <a:rPr lang="nb-NO" sz="2400" dirty="0">
                <a:solidFill>
                  <a:srgbClr val="01509E"/>
                </a:solidFill>
              </a:rPr>
            </a:br>
            <a:r>
              <a:rPr lang="nb-NO" sz="2400" dirty="0">
                <a:solidFill>
                  <a:srgbClr val="01509E"/>
                </a:solidFill>
              </a:rPr>
              <a:t>Introduction</a:t>
            </a:r>
            <a:br>
              <a:rPr lang="nb-NO" sz="2400" dirty="0">
                <a:solidFill>
                  <a:srgbClr val="01509E"/>
                </a:solidFill>
              </a:rPr>
            </a:br>
            <a:r>
              <a:rPr lang="nb-NO" sz="2000" b="0" dirty="0">
                <a:solidFill>
                  <a:schemeClr val="bg1">
                    <a:lumMod val="50000"/>
                  </a:schemeClr>
                </a:solidFill>
              </a:rPr>
              <a:t>How </a:t>
            </a:r>
            <a:r>
              <a:rPr lang="nb-NO" sz="2000" b="0" dirty="0" err="1">
                <a:solidFill>
                  <a:schemeClr val="bg1">
                    <a:lumMod val="50000"/>
                  </a:schemeClr>
                </a:solidFill>
              </a:rPr>
              <a:t>the</a:t>
            </a:r>
            <a:r>
              <a:rPr lang="nb-NO" sz="2000" b="0" dirty="0">
                <a:solidFill>
                  <a:schemeClr val="bg1">
                    <a:lumMod val="50000"/>
                  </a:schemeClr>
                </a:solidFill>
              </a:rPr>
              <a:t> </a:t>
            </a:r>
            <a:r>
              <a:rPr lang="nb-NO" sz="2000" b="0" dirty="0" err="1">
                <a:solidFill>
                  <a:schemeClr val="bg1">
                    <a:lumMod val="50000"/>
                  </a:schemeClr>
                </a:solidFill>
              </a:rPr>
              <a:t>industries</a:t>
            </a:r>
            <a:r>
              <a:rPr lang="nb-NO" sz="2000" b="0" dirty="0">
                <a:solidFill>
                  <a:schemeClr val="bg1">
                    <a:lumMod val="50000"/>
                  </a:schemeClr>
                </a:solidFill>
              </a:rPr>
              <a:t> </a:t>
            </a:r>
            <a:r>
              <a:rPr lang="nb-NO" sz="2000" b="0" dirty="0" err="1">
                <a:solidFill>
                  <a:schemeClr val="bg1">
                    <a:lumMod val="50000"/>
                  </a:schemeClr>
                </a:solidFill>
              </a:rPr>
              <a:t>benefits</a:t>
            </a:r>
            <a:r>
              <a:rPr lang="nb-NO" sz="2000" b="0" dirty="0">
                <a:solidFill>
                  <a:schemeClr val="bg1">
                    <a:lumMod val="50000"/>
                  </a:schemeClr>
                </a:solidFill>
              </a:rPr>
              <a:t> from it?</a:t>
            </a:r>
            <a:br>
              <a:rPr lang="en-US" sz="2400" dirty="0">
                <a:latin typeface="Arial" panose="020B0604020202020204" pitchFamily="34" charset="0"/>
                <a:cs typeface="Arial" panose="020B0604020202020204" pitchFamily="34" charset="0"/>
              </a:rPr>
            </a:br>
            <a:endParaRPr lang="en-US" sz="2400" b="0" dirty="0">
              <a:latin typeface="Arial" panose="020B0604020202020204" pitchFamily="34" charset="0"/>
              <a:cs typeface="Arial" panose="020B0604020202020204" pitchFamily="34" charset="0"/>
            </a:endParaRPr>
          </a:p>
        </p:txBody>
      </p:sp>
      <p:sp>
        <p:nvSpPr>
          <p:cNvPr id="7" name="Plassholder for innhold 2">
            <a:extLst>
              <a:ext uri="{FF2B5EF4-FFF2-40B4-BE49-F238E27FC236}">
                <a16:creationId xmlns:a16="http://schemas.microsoft.com/office/drawing/2014/main" id="{63991A79-2DF5-4987-8986-F8B6237BF2C9}"/>
              </a:ext>
            </a:extLst>
          </p:cNvPr>
          <p:cNvSpPr>
            <a:spLocks noGrp="1"/>
          </p:cNvSpPr>
          <p:nvPr>
            <p:ph idx="1"/>
          </p:nvPr>
        </p:nvSpPr>
        <p:spPr>
          <a:xfrm>
            <a:off x="1659748" y="1181905"/>
            <a:ext cx="10309095" cy="4884155"/>
          </a:xfrm>
        </p:spPr>
        <p:txBody>
          <a:bodyPr>
            <a:normAutofit/>
          </a:bodyPr>
          <a:lstStyle/>
          <a:p>
            <a:pPr>
              <a:lnSpc>
                <a:spcPct val="110000"/>
              </a:lnSpc>
              <a:buFont typeface="Wingdings" panose="05000000000000000000" pitchFamily="2" charset="2"/>
              <a:buChar char="§"/>
            </a:pPr>
            <a:r>
              <a:rPr lang="en-US" sz="2000" dirty="0">
                <a:latin typeface="Arial" panose="020B0604020202020204" pitchFamily="34" charset="0"/>
                <a:cs typeface="Arial" panose="020B0604020202020204" pitchFamily="34" charset="0"/>
              </a:rPr>
              <a:t>A </a:t>
            </a:r>
            <a:r>
              <a:rPr lang="en-US" sz="2000" b="1" dirty="0">
                <a:latin typeface="Arial" panose="020B0604020202020204" pitchFamily="34" charset="0"/>
                <a:cs typeface="Arial" panose="020B0604020202020204" pitchFamily="34" charset="0"/>
              </a:rPr>
              <a:t>digital twin </a:t>
            </a:r>
            <a:r>
              <a:rPr lang="en-US" sz="2000" dirty="0">
                <a:latin typeface="Arial" panose="020B0604020202020204" pitchFamily="34" charset="0"/>
                <a:cs typeface="Arial" panose="020B0604020202020204" pitchFamily="34" charset="0"/>
              </a:rPr>
              <a:t>is a digital or virtual copy of physical assets or products.</a:t>
            </a:r>
          </a:p>
          <a:p>
            <a:pPr marL="0" indent="0">
              <a:lnSpc>
                <a:spcPct val="110000"/>
              </a:lnSpc>
              <a:buNone/>
            </a:pPr>
            <a:endParaRPr lang="en-US" sz="2000" dirty="0">
              <a:latin typeface="Arial" panose="020B0604020202020204" pitchFamily="34" charset="0"/>
              <a:cs typeface="Arial" panose="020B0604020202020204" pitchFamily="34" charset="0"/>
            </a:endParaRPr>
          </a:p>
          <a:p>
            <a:pPr>
              <a:lnSpc>
                <a:spcPct val="110000"/>
              </a:lnSpc>
              <a:buFont typeface="Wingdings" panose="05000000000000000000" pitchFamily="2" charset="2"/>
              <a:buChar char="§"/>
            </a:pPr>
            <a:endParaRPr lang="en-US" sz="1900" dirty="0">
              <a:latin typeface="Arial" panose="020B0604020202020204" pitchFamily="34" charset="0"/>
              <a:cs typeface="Arial" panose="020B0604020202020204" pitchFamily="34" charset="0"/>
            </a:endParaRPr>
          </a:p>
          <a:p>
            <a:pPr>
              <a:lnSpc>
                <a:spcPct val="110000"/>
              </a:lnSpc>
              <a:buFont typeface="Wingdings" panose="05000000000000000000" pitchFamily="2" charset="2"/>
              <a:buChar char="§"/>
            </a:pPr>
            <a:endParaRPr lang="en-US" sz="1900" dirty="0">
              <a:latin typeface="Arial" panose="020B0604020202020204" pitchFamily="34" charset="0"/>
              <a:cs typeface="Arial" panose="020B0604020202020204" pitchFamily="34" charset="0"/>
            </a:endParaRPr>
          </a:p>
          <a:p>
            <a:pPr marL="0" indent="0">
              <a:buNone/>
            </a:pPr>
            <a:endParaRPr lang="en-US" sz="1800" dirty="0"/>
          </a:p>
        </p:txBody>
      </p:sp>
      <p:pic>
        <p:nvPicPr>
          <p:cNvPr id="26" name="Online Media 3" title="What are the key benefits of using Digital Twin?">
            <a:hlinkClick r:id="" action="ppaction://media"/>
            <a:extLst>
              <a:ext uri="{FF2B5EF4-FFF2-40B4-BE49-F238E27FC236}">
                <a16:creationId xmlns:a16="http://schemas.microsoft.com/office/drawing/2014/main" id="{DBFBD6F5-3273-447C-BE4B-4F8DFC0CE78D}"/>
              </a:ext>
            </a:extLst>
          </p:cNvPr>
          <p:cNvPicPr>
            <a:picLocks noRot="1" noChangeAspect="1"/>
          </p:cNvPicPr>
          <p:nvPr>
            <a:videoFile r:link="rId3"/>
          </p:nvPr>
        </p:nvPicPr>
        <p:blipFill>
          <a:blip r:embed="rId8"/>
          <a:stretch>
            <a:fillRect/>
          </a:stretch>
        </p:blipFill>
        <p:spPr>
          <a:xfrm>
            <a:off x="2785666" y="1761111"/>
            <a:ext cx="7746586" cy="4376820"/>
          </a:xfrm>
          <a:prstGeom prst="rect">
            <a:avLst/>
          </a:prstGeom>
        </p:spPr>
      </p:pic>
    </p:spTree>
    <p:extLst>
      <p:ext uri="{BB962C8B-B14F-4D97-AF65-F5344CB8AC3E}">
        <p14:creationId xmlns:p14="http://schemas.microsoft.com/office/powerpoint/2010/main" val="40484657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6"/>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26"/>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26"/>
                                        </p:tgtEl>
                                      </p:cBhvr>
                                    </p:cmd>
                                  </p:childTnLst>
                                </p:cTn>
                              </p:par>
                            </p:childTnLst>
                          </p:cTn>
                        </p:par>
                      </p:childTnLst>
                    </p:cTn>
                  </p:par>
                </p:childTnLst>
              </p:cTn>
              <p:nextCondLst>
                <p:cond evt="onClick" delay="0">
                  <p:tgtEl>
                    <p:spTgt spid="26"/>
                  </p:tgtEl>
                </p:cond>
              </p:nextCondLst>
            </p:seq>
            <p:video>
              <p:cMediaNode vol="80000">
                <p:cTn id="12" fill="hold" display="0">
                  <p:stCondLst>
                    <p:cond delay="indefinite"/>
                  </p:stCondLst>
                </p:cTn>
                <p:tgtEl>
                  <p:spTgt spid="26"/>
                </p:tgtEl>
              </p:cMediaNode>
            </p:video>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2" name="Object 41" hidden="1">
            <a:extLst>
              <a:ext uri="{FF2B5EF4-FFF2-40B4-BE49-F238E27FC236}">
                <a16:creationId xmlns:a16="http://schemas.microsoft.com/office/drawing/2014/main" id="{301463C9-2282-4A0F-819B-75374BE71C9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42" name="Object 41" hidden="1">
                        <a:extLst>
                          <a:ext uri="{FF2B5EF4-FFF2-40B4-BE49-F238E27FC236}">
                            <a16:creationId xmlns:a16="http://schemas.microsoft.com/office/drawing/2014/main" id="{301463C9-2282-4A0F-819B-75374BE71C9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6" name="Rectangle 45" hidden="1">
            <a:extLst>
              <a:ext uri="{FF2B5EF4-FFF2-40B4-BE49-F238E27FC236}">
                <a16:creationId xmlns:a16="http://schemas.microsoft.com/office/drawing/2014/main" id="{CADF9BBE-ADA6-4A36-A7C9-EC1296DE314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dirty="0">
              <a:latin typeface="Arial" panose="020B0604020202020204" pitchFamily="34" charset="0"/>
              <a:ea typeface="+mj-ea"/>
              <a:cs typeface="Arial" panose="020B0604020202020204" pitchFamily="34" charset="0"/>
              <a:sym typeface="Arial" panose="020B0604020202020204" pitchFamily="34" charset="0"/>
            </a:endParaRPr>
          </a:p>
        </p:txBody>
      </p:sp>
      <p:cxnSp>
        <p:nvCxnSpPr>
          <p:cNvPr id="43" name="Straight Connector 17">
            <a:extLst>
              <a:ext uri="{FF2B5EF4-FFF2-40B4-BE49-F238E27FC236}">
                <a16:creationId xmlns:a16="http://schemas.microsoft.com/office/drawing/2014/main" id="{D619BC49-E4EF-4BC0-B474-609F75846915}"/>
              </a:ext>
            </a:extLst>
          </p:cNvPr>
          <p:cNvCxnSpPr>
            <a:cxnSpLocks/>
          </p:cNvCxnSpPr>
          <p:nvPr/>
        </p:nvCxnSpPr>
        <p:spPr>
          <a:xfrm>
            <a:off x="1659750" y="1181906"/>
            <a:ext cx="997751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5" name="Titel 1">
            <a:extLst>
              <a:ext uri="{FF2B5EF4-FFF2-40B4-BE49-F238E27FC236}">
                <a16:creationId xmlns:a16="http://schemas.microsoft.com/office/drawing/2014/main" id="{ABE05CC7-87A9-4E18-AEA7-3CFE48FBF726}"/>
              </a:ext>
            </a:extLst>
          </p:cNvPr>
          <p:cNvSpPr>
            <a:spLocks noGrp="1"/>
          </p:cNvSpPr>
          <p:nvPr>
            <p:ph type="title"/>
          </p:nvPr>
        </p:nvSpPr>
        <p:spPr>
          <a:xfrm>
            <a:off x="1659750" y="372123"/>
            <a:ext cx="9977511" cy="677691"/>
          </a:xfrm>
        </p:spPr>
        <p:txBody>
          <a:bodyPr>
            <a:noAutofit/>
          </a:bodyPr>
          <a:lstStyle/>
          <a:p>
            <a:br>
              <a:rPr lang="nb-NO" sz="2400" dirty="0">
                <a:solidFill>
                  <a:srgbClr val="01509E"/>
                </a:solidFill>
              </a:rPr>
            </a:br>
            <a:r>
              <a:rPr lang="nb-NO" sz="3200" dirty="0">
                <a:solidFill>
                  <a:srgbClr val="01509E"/>
                </a:solidFill>
              </a:rPr>
              <a:t>Application</a:t>
            </a:r>
            <a:br>
              <a:rPr lang="en-US" sz="2400" dirty="0">
                <a:latin typeface="Arial" panose="020B0604020202020204" pitchFamily="34" charset="0"/>
                <a:cs typeface="Arial" panose="020B0604020202020204" pitchFamily="34" charset="0"/>
              </a:rPr>
            </a:br>
            <a:endParaRPr lang="en-US" sz="2400" b="0" dirty="0">
              <a:latin typeface="Arial" panose="020B0604020202020204" pitchFamily="34" charset="0"/>
              <a:cs typeface="Arial" panose="020B0604020202020204" pitchFamily="34" charset="0"/>
            </a:endParaRPr>
          </a:p>
        </p:txBody>
      </p:sp>
      <p:sp>
        <p:nvSpPr>
          <p:cNvPr id="7" name="Plassholder for innhold 2">
            <a:extLst>
              <a:ext uri="{FF2B5EF4-FFF2-40B4-BE49-F238E27FC236}">
                <a16:creationId xmlns:a16="http://schemas.microsoft.com/office/drawing/2014/main" id="{63991A79-2DF5-4987-8986-F8B6237BF2C9}"/>
              </a:ext>
            </a:extLst>
          </p:cNvPr>
          <p:cNvSpPr>
            <a:spLocks noGrp="1"/>
          </p:cNvSpPr>
          <p:nvPr>
            <p:ph idx="1"/>
          </p:nvPr>
        </p:nvSpPr>
        <p:spPr>
          <a:xfrm>
            <a:off x="1659748" y="1181905"/>
            <a:ext cx="10309095" cy="4884155"/>
          </a:xfrm>
        </p:spPr>
        <p:txBody>
          <a:bodyPr>
            <a:normAutofit/>
          </a:bodyPr>
          <a:lstStyle/>
          <a:p>
            <a:pPr marL="0" indent="0">
              <a:lnSpc>
                <a:spcPct val="110000"/>
              </a:lnSpc>
              <a:buNone/>
            </a:pPr>
            <a:endParaRPr lang="en-US" sz="2000" dirty="0">
              <a:latin typeface="Arial" panose="020B0604020202020204" pitchFamily="34" charset="0"/>
              <a:cs typeface="Arial" panose="020B0604020202020204" pitchFamily="34" charset="0"/>
            </a:endParaRPr>
          </a:p>
          <a:p>
            <a:pPr>
              <a:lnSpc>
                <a:spcPct val="110000"/>
              </a:lnSpc>
              <a:buFont typeface="Wingdings" panose="05000000000000000000" pitchFamily="2" charset="2"/>
              <a:buChar char="§"/>
            </a:pPr>
            <a:endParaRPr lang="en-US" sz="2000" dirty="0">
              <a:latin typeface="Arial" panose="020B0604020202020204" pitchFamily="34" charset="0"/>
              <a:cs typeface="Arial" panose="020B0604020202020204" pitchFamily="34" charset="0"/>
            </a:endParaRPr>
          </a:p>
          <a:p>
            <a:pPr marL="0" indent="0">
              <a:lnSpc>
                <a:spcPct val="110000"/>
              </a:lnSpc>
              <a:buNone/>
            </a:pPr>
            <a:endParaRPr lang="en-US" sz="2000" dirty="0">
              <a:latin typeface="Arial" panose="020B0604020202020204" pitchFamily="34" charset="0"/>
              <a:cs typeface="Arial" panose="020B0604020202020204" pitchFamily="34" charset="0"/>
            </a:endParaRPr>
          </a:p>
          <a:p>
            <a:pPr>
              <a:lnSpc>
                <a:spcPct val="110000"/>
              </a:lnSpc>
              <a:buFont typeface="Wingdings" panose="05000000000000000000" pitchFamily="2" charset="2"/>
              <a:buChar char="§"/>
            </a:pPr>
            <a:endParaRPr lang="en-US" sz="1900" dirty="0">
              <a:latin typeface="Arial" panose="020B0604020202020204" pitchFamily="34" charset="0"/>
              <a:cs typeface="Arial" panose="020B0604020202020204" pitchFamily="34" charset="0"/>
            </a:endParaRPr>
          </a:p>
          <a:p>
            <a:pPr>
              <a:lnSpc>
                <a:spcPct val="110000"/>
              </a:lnSpc>
              <a:buFont typeface="Wingdings" panose="05000000000000000000" pitchFamily="2" charset="2"/>
              <a:buChar char="§"/>
            </a:pPr>
            <a:endParaRPr lang="en-US" sz="1900" dirty="0">
              <a:latin typeface="Arial" panose="020B0604020202020204" pitchFamily="34" charset="0"/>
              <a:cs typeface="Arial" panose="020B0604020202020204" pitchFamily="34" charset="0"/>
            </a:endParaRPr>
          </a:p>
          <a:p>
            <a:pPr marL="0" indent="0">
              <a:buNone/>
            </a:pPr>
            <a:endParaRPr lang="en-US" sz="1800" dirty="0"/>
          </a:p>
        </p:txBody>
      </p:sp>
      <p:pic>
        <p:nvPicPr>
          <p:cNvPr id="12" name="Picture 11">
            <a:extLst>
              <a:ext uri="{FF2B5EF4-FFF2-40B4-BE49-F238E27FC236}">
                <a16:creationId xmlns:a16="http://schemas.microsoft.com/office/drawing/2014/main" id="{8C67C0EE-4A51-4D48-B552-57FF1D27344B}"/>
              </a:ext>
            </a:extLst>
          </p:cNvPr>
          <p:cNvPicPr>
            <a:picLocks noChangeAspect="1"/>
          </p:cNvPicPr>
          <p:nvPr/>
        </p:nvPicPr>
        <p:blipFill rotWithShape="1">
          <a:blip r:embed="rId7"/>
          <a:srcRect b="9605"/>
          <a:stretch/>
        </p:blipFill>
        <p:spPr>
          <a:xfrm>
            <a:off x="1956350" y="1815944"/>
            <a:ext cx="4248743" cy="2970899"/>
          </a:xfrm>
          <a:prstGeom prst="rect">
            <a:avLst/>
          </a:prstGeom>
        </p:spPr>
      </p:pic>
      <p:sp>
        <p:nvSpPr>
          <p:cNvPr id="13" name="TextBox 12">
            <a:extLst>
              <a:ext uri="{FF2B5EF4-FFF2-40B4-BE49-F238E27FC236}">
                <a16:creationId xmlns:a16="http://schemas.microsoft.com/office/drawing/2014/main" id="{DE6AF6CF-ECD9-49ED-AEA0-6F1E5AF42B87}"/>
              </a:ext>
            </a:extLst>
          </p:cNvPr>
          <p:cNvSpPr txBox="1"/>
          <p:nvPr/>
        </p:nvSpPr>
        <p:spPr>
          <a:xfrm>
            <a:off x="3192304" y="4915876"/>
            <a:ext cx="1776833" cy="369332"/>
          </a:xfrm>
          <a:prstGeom prst="rect">
            <a:avLst/>
          </a:prstGeom>
          <a:noFill/>
        </p:spPr>
        <p:txBody>
          <a:bodyPr wrap="none" rtlCol="0">
            <a:spAutoFit/>
          </a:bodyPr>
          <a:lstStyle/>
          <a:p>
            <a:r>
              <a:rPr lang="en-GB" sz="1800" dirty="0"/>
              <a:t>Product life cycle</a:t>
            </a:r>
          </a:p>
        </p:txBody>
      </p:sp>
      <p:pic>
        <p:nvPicPr>
          <p:cNvPr id="3" name="Picture 2">
            <a:extLst>
              <a:ext uri="{FF2B5EF4-FFF2-40B4-BE49-F238E27FC236}">
                <a16:creationId xmlns:a16="http://schemas.microsoft.com/office/drawing/2014/main" id="{1D7FB8C3-7C5B-44B9-BE46-EF754D884628}"/>
              </a:ext>
            </a:extLst>
          </p:cNvPr>
          <p:cNvPicPr>
            <a:picLocks noChangeAspect="1"/>
          </p:cNvPicPr>
          <p:nvPr/>
        </p:nvPicPr>
        <p:blipFill>
          <a:blip r:embed="rId8"/>
          <a:stretch>
            <a:fillRect/>
          </a:stretch>
        </p:blipFill>
        <p:spPr>
          <a:xfrm>
            <a:off x="6501695" y="2115365"/>
            <a:ext cx="4667901" cy="2372056"/>
          </a:xfrm>
          <a:prstGeom prst="rect">
            <a:avLst/>
          </a:prstGeom>
        </p:spPr>
      </p:pic>
      <p:pic>
        <p:nvPicPr>
          <p:cNvPr id="11" name="Picture 10">
            <a:extLst>
              <a:ext uri="{FF2B5EF4-FFF2-40B4-BE49-F238E27FC236}">
                <a16:creationId xmlns:a16="http://schemas.microsoft.com/office/drawing/2014/main" id="{0481A567-DFA4-4EE2-806D-A1BD38EF2E37}"/>
              </a:ext>
            </a:extLst>
          </p:cNvPr>
          <p:cNvPicPr>
            <a:picLocks noChangeAspect="1"/>
          </p:cNvPicPr>
          <p:nvPr/>
        </p:nvPicPr>
        <p:blipFill>
          <a:blip r:embed="rId9"/>
          <a:stretch>
            <a:fillRect/>
          </a:stretch>
        </p:blipFill>
        <p:spPr>
          <a:xfrm>
            <a:off x="5888097" y="1793719"/>
            <a:ext cx="5975081" cy="4063055"/>
          </a:xfrm>
          <a:prstGeom prst="rect">
            <a:avLst/>
          </a:prstGeom>
          <a:noFill/>
        </p:spPr>
      </p:pic>
    </p:spTree>
    <p:extLst>
      <p:ext uri="{BB962C8B-B14F-4D97-AF65-F5344CB8AC3E}">
        <p14:creationId xmlns:p14="http://schemas.microsoft.com/office/powerpoint/2010/main" val="21150096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2" name="Object 41" hidden="1">
            <a:extLst>
              <a:ext uri="{FF2B5EF4-FFF2-40B4-BE49-F238E27FC236}">
                <a16:creationId xmlns:a16="http://schemas.microsoft.com/office/drawing/2014/main" id="{301463C9-2282-4A0F-819B-75374BE71C9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6" progId="TCLayout.ActiveDocument.1">
                  <p:embed/>
                </p:oleObj>
              </mc:Choice>
              <mc:Fallback>
                <p:oleObj name="think-cell Slide" r:id="rId6" imgW="395" imgH="396" progId="TCLayout.ActiveDocument.1">
                  <p:embed/>
                  <p:pic>
                    <p:nvPicPr>
                      <p:cNvPr id="42" name="Object 41" hidden="1">
                        <a:extLst>
                          <a:ext uri="{FF2B5EF4-FFF2-40B4-BE49-F238E27FC236}">
                            <a16:creationId xmlns:a16="http://schemas.microsoft.com/office/drawing/2014/main" id="{301463C9-2282-4A0F-819B-75374BE71C9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6" name="Rectangle 45" hidden="1">
            <a:extLst>
              <a:ext uri="{FF2B5EF4-FFF2-40B4-BE49-F238E27FC236}">
                <a16:creationId xmlns:a16="http://schemas.microsoft.com/office/drawing/2014/main" id="{CADF9BBE-ADA6-4A36-A7C9-EC1296DE314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dirty="0">
              <a:latin typeface="Arial" panose="020B0604020202020204" pitchFamily="34" charset="0"/>
              <a:ea typeface="+mj-ea"/>
              <a:cs typeface="Arial" panose="020B0604020202020204" pitchFamily="34" charset="0"/>
              <a:sym typeface="Arial" panose="020B0604020202020204" pitchFamily="34" charset="0"/>
            </a:endParaRPr>
          </a:p>
        </p:txBody>
      </p:sp>
      <p:cxnSp>
        <p:nvCxnSpPr>
          <p:cNvPr id="43" name="Straight Connector 17">
            <a:extLst>
              <a:ext uri="{FF2B5EF4-FFF2-40B4-BE49-F238E27FC236}">
                <a16:creationId xmlns:a16="http://schemas.microsoft.com/office/drawing/2014/main" id="{D619BC49-E4EF-4BC0-B474-609F75846915}"/>
              </a:ext>
            </a:extLst>
          </p:cNvPr>
          <p:cNvCxnSpPr>
            <a:cxnSpLocks/>
          </p:cNvCxnSpPr>
          <p:nvPr/>
        </p:nvCxnSpPr>
        <p:spPr>
          <a:xfrm>
            <a:off x="1659750" y="1181906"/>
            <a:ext cx="997751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5" name="Titel 1">
            <a:extLst>
              <a:ext uri="{FF2B5EF4-FFF2-40B4-BE49-F238E27FC236}">
                <a16:creationId xmlns:a16="http://schemas.microsoft.com/office/drawing/2014/main" id="{ABE05CC7-87A9-4E18-AEA7-3CFE48FBF726}"/>
              </a:ext>
            </a:extLst>
          </p:cNvPr>
          <p:cNvSpPr>
            <a:spLocks noGrp="1"/>
          </p:cNvSpPr>
          <p:nvPr>
            <p:ph type="title"/>
          </p:nvPr>
        </p:nvSpPr>
        <p:spPr>
          <a:xfrm>
            <a:off x="1659750" y="372123"/>
            <a:ext cx="9977511" cy="677691"/>
          </a:xfrm>
        </p:spPr>
        <p:txBody>
          <a:bodyPr>
            <a:noAutofit/>
          </a:bodyPr>
          <a:lstStyle/>
          <a:p>
            <a:br>
              <a:rPr lang="nb-NO" sz="2400" dirty="0">
                <a:solidFill>
                  <a:srgbClr val="01509E"/>
                </a:solidFill>
              </a:rPr>
            </a:br>
            <a:r>
              <a:rPr lang="nb-NO" sz="3600" dirty="0">
                <a:solidFill>
                  <a:srgbClr val="01509E"/>
                </a:solidFill>
              </a:rPr>
              <a:t>Application</a:t>
            </a:r>
            <a:br>
              <a:rPr lang="en-US" sz="2400" dirty="0">
                <a:latin typeface="Arial" panose="020B0604020202020204" pitchFamily="34" charset="0"/>
                <a:cs typeface="Arial" panose="020B0604020202020204" pitchFamily="34" charset="0"/>
              </a:rPr>
            </a:br>
            <a:endParaRPr lang="en-US" sz="2400" b="0" dirty="0">
              <a:latin typeface="Arial" panose="020B0604020202020204" pitchFamily="34" charset="0"/>
              <a:cs typeface="Arial" panose="020B0604020202020204" pitchFamily="34" charset="0"/>
            </a:endParaRPr>
          </a:p>
        </p:txBody>
      </p:sp>
      <p:sp>
        <p:nvSpPr>
          <p:cNvPr id="7" name="Plassholder for innhold 2">
            <a:extLst>
              <a:ext uri="{FF2B5EF4-FFF2-40B4-BE49-F238E27FC236}">
                <a16:creationId xmlns:a16="http://schemas.microsoft.com/office/drawing/2014/main" id="{63991A79-2DF5-4987-8986-F8B6237BF2C9}"/>
              </a:ext>
            </a:extLst>
          </p:cNvPr>
          <p:cNvSpPr>
            <a:spLocks noGrp="1"/>
          </p:cNvSpPr>
          <p:nvPr>
            <p:ph idx="1"/>
          </p:nvPr>
        </p:nvSpPr>
        <p:spPr>
          <a:xfrm>
            <a:off x="1659748" y="1181905"/>
            <a:ext cx="10309095" cy="4884155"/>
          </a:xfrm>
        </p:spPr>
        <p:txBody>
          <a:bodyPr>
            <a:normAutofit/>
          </a:bodyPr>
          <a:lstStyle/>
          <a:p>
            <a:pPr>
              <a:lnSpc>
                <a:spcPct val="110000"/>
              </a:lnSpc>
              <a:buFont typeface="Wingdings" panose="05000000000000000000" pitchFamily="2" charset="2"/>
              <a:buChar char="§"/>
            </a:pPr>
            <a:r>
              <a:rPr lang="en-US" sz="2000" dirty="0">
                <a:latin typeface="Arial" panose="020B0604020202020204" pitchFamily="34" charset="0"/>
                <a:cs typeface="Arial" panose="020B0604020202020204" pitchFamily="34" charset="0"/>
              </a:rPr>
              <a:t>A </a:t>
            </a:r>
            <a:r>
              <a:rPr lang="en-US" sz="2000" b="1" dirty="0">
                <a:latin typeface="Arial" panose="020B0604020202020204" pitchFamily="34" charset="0"/>
                <a:cs typeface="Arial" panose="020B0604020202020204" pitchFamily="34" charset="0"/>
              </a:rPr>
              <a:t>digital twin </a:t>
            </a:r>
            <a:r>
              <a:rPr lang="en-US" sz="2000" dirty="0">
                <a:latin typeface="Arial" panose="020B0604020202020204" pitchFamily="34" charset="0"/>
                <a:cs typeface="Arial" panose="020B0604020202020204" pitchFamily="34" charset="0"/>
              </a:rPr>
              <a:t>in manufacturing. </a:t>
            </a:r>
          </a:p>
          <a:p>
            <a:pPr>
              <a:lnSpc>
                <a:spcPct val="110000"/>
              </a:lnSpc>
              <a:buFont typeface="Wingdings" panose="05000000000000000000" pitchFamily="2" charset="2"/>
              <a:buChar char="§"/>
            </a:pPr>
            <a:endParaRPr lang="en-US" sz="2000" dirty="0">
              <a:latin typeface="Arial" panose="020B0604020202020204" pitchFamily="34" charset="0"/>
              <a:cs typeface="Arial" panose="020B0604020202020204" pitchFamily="34" charset="0"/>
            </a:endParaRPr>
          </a:p>
          <a:p>
            <a:pPr>
              <a:lnSpc>
                <a:spcPct val="110000"/>
              </a:lnSpc>
              <a:buFont typeface="Wingdings" panose="05000000000000000000" pitchFamily="2" charset="2"/>
              <a:buChar char="§"/>
            </a:pPr>
            <a:endParaRPr lang="en-US" sz="2000" dirty="0">
              <a:latin typeface="Arial" panose="020B0604020202020204" pitchFamily="34" charset="0"/>
              <a:cs typeface="Arial" panose="020B0604020202020204" pitchFamily="34" charset="0"/>
            </a:endParaRPr>
          </a:p>
          <a:p>
            <a:pPr>
              <a:lnSpc>
                <a:spcPct val="110000"/>
              </a:lnSpc>
              <a:buFont typeface="Wingdings" panose="05000000000000000000" pitchFamily="2" charset="2"/>
              <a:buChar char="§"/>
            </a:pPr>
            <a:endParaRPr lang="en-US" sz="2000" dirty="0">
              <a:latin typeface="Arial" panose="020B0604020202020204" pitchFamily="34" charset="0"/>
              <a:cs typeface="Arial" panose="020B0604020202020204" pitchFamily="34" charset="0"/>
            </a:endParaRPr>
          </a:p>
          <a:p>
            <a:pPr marL="0" indent="0">
              <a:lnSpc>
                <a:spcPct val="110000"/>
              </a:lnSpc>
              <a:buNone/>
            </a:pPr>
            <a:endParaRPr lang="en-US" sz="2000" dirty="0">
              <a:latin typeface="Arial" panose="020B0604020202020204" pitchFamily="34" charset="0"/>
              <a:cs typeface="Arial" panose="020B0604020202020204" pitchFamily="34" charset="0"/>
            </a:endParaRPr>
          </a:p>
          <a:p>
            <a:pPr>
              <a:lnSpc>
                <a:spcPct val="110000"/>
              </a:lnSpc>
              <a:buFont typeface="Wingdings" panose="05000000000000000000" pitchFamily="2" charset="2"/>
              <a:buChar char="§"/>
            </a:pPr>
            <a:endParaRPr lang="en-US" sz="1900" dirty="0">
              <a:latin typeface="Arial" panose="020B0604020202020204" pitchFamily="34" charset="0"/>
              <a:cs typeface="Arial" panose="020B0604020202020204" pitchFamily="34" charset="0"/>
            </a:endParaRPr>
          </a:p>
          <a:p>
            <a:pPr>
              <a:lnSpc>
                <a:spcPct val="110000"/>
              </a:lnSpc>
              <a:buFont typeface="Wingdings" panose="05000000000000000000" pitchFamily="2" charset="2"/>
              <a:buChar char="§"/>
            </a:pPr>
            <a:endParaRPr lang="en-US" sz="1900" dirty="0">
              <a:latin typeface="Arial" panose="020B0604020202020204" pitchFamily="34" charset="0"/>
              <a:cs typeface="Arial" panose="020B0604020202020204" pitchFamily="34" charset="0"/>
            </a:endParaRPr>
          </a:p>
          <a:p>
            <a:pPr marL="0" indent="0">
              <a:buNone/>
            </a:pPr>
            <a:endParaRPr lang="en-US" sz="1800" dirty="0"/>
          </a:p>
        </p:txBody>
      </p:sp>
      <p:pic>
        <p:nvPicPr>
          <p:cNvPr id="2" name="Online Media 1" title="The value of a Digital Twin in manufacturing | Braincube">
            <a:hlinkClick r:id="" action="ppaction://media"/>
            <a:extLst>
              <a:ext uri="{FF2B5EF4-FFF2-40B4-BE49-F238E27FC236}">
                <a16:creationId xmlns:a16="http://schemas.microsoft.com/office/drawing/2014/main" id="{826ACC34-F4EA-444D-9254-A69A0DD92DB7}"/>
              </a:ext>
            </a:extLst>
          </p:cNvPr>
          <p:cNvPicPr>
            <a:picLocks noRot="1" noChangeAspect="1"/>
          </p:cNvPicPr>
          <p:nvPr>
            <a:videoFile r:link="rId3"/>
          </p:nvPr>
        </p:nvPicPr>
        <p:blipFill>
          <a:blip r:embed="rId8"/>
          <a:stretch>
            <a:fillRect/>
          </a:stretch>
        </p:blipFill>
        <p:spPr>
          <a:xfrm>
            <a:off x="2839876" y="1764463"/>
            <a:ext cx="7847235" cy="4433688"/>
          </a:xfrm>
          <a:prstGeom prst="rect">
            <a:avLst/>
          </a:prstGeom>
        </p:spPr>
      </p:pic>
      <p:sp>
        <p:nvSpPr>
          <p:cNvPr id="9" name="TextBox 8">
            <a:extLst>
              <a:ext uri="{FF2B5EF4-FFF2-40B4-BE49-F238E27FC236}">
                <a16:creationId xmlns:a16="http://schemas.microsoft.com/office/drawing/2014/main" id="{4A37EB97-3F83-4A4C-91BB-AE8CB87D69EE}"/>
              </a:ext>
            </a:extLst>
          </p:cNvPr>
          <p:cNvSpPr txBox="1"/>
          <p:nvPr/>
        </p:nvSpPr>
        <p:spPr>
          <a:xfrm>
            <a:off x="3048000" y="3013502"/>
            <a:ext cx="6096000" cy="830997"/>
          </a:xfrm>
          <a:prstGeom prst="rect">
            <a:avLst/>
          </a:prstGeom>
          <a:noFill/>
        </p:spPr>
        <p:txBody>
          <a:bodyPr wrap="square">
            <a:spAutoFit/>
          </a:bodyPr>
          <a:lstStyle/>
          <a:p>
            <a:r>
              <a:rPr lang="en-US" dirty="0"/>
              <a:t>The Use of a Data-Driven Digital Twin of a Smart City: A Case Study of Ålesund, Norway</a:t>
            </a:r>
            <a:endParaRPr lang="en-GB" dirty="0"/>
          </a:p>
        </p:txBody>
      </p:sp>
    </p:spTree>
    <p:extLst>
      <p:ext uri="{BB962C8B-B14F-4D97-AF65-F5344CB8AC3E}">
        <p14:creationId xmlns:p14="http://schemas.microsoft.com/office/powerpoint/2010/main" val="22688261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2" name="Object 41" hidden="1">
            <a:extLst>
              <a:ext uri="{FF2B5EF4-FFF2-40B4-BE49-F238E27FC236}">
                <a16:creationId xmlns:a16="http://schemas.microsoft.com/office/drawing/2014/main" id="{301463C9-2282-4A0F-819B-75374BE71C9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42" name="Object 41" hidden="1">
                        <a:extLst>
                          <a:ext uri="{FF2B5EF4-FFF2-40B4-BE49-F238E27FC236}">
                            <a16:creationId xmlns:a16="http://schemas.microsoft.com/office/drawing/2014/main" id="{301463C9-2282-4A0F-819B-75374BE71C9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6" name="Rectangle 45" hidden="1">
            <a:extLst>
              <a:ext uri="{FF2B5EF4-FFF2-40B4-BE49-F238E27FC236}">
                <a16:creationId xmlns:a16="http://schemas.microsoft.com/office/drawing/2014/main" id="{CADF9BBE-ADA6-4A36-A7C9-EC1296DE314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dirty="0">
              <a:latin typeface="Arial" panose="020B0604020202020204" pitchFamily="34" charset="0"/>
              <a:ea typeface="+mj-ea"/>
              <a:cs typeface="Arial" panose="020B0604020202020204" pitchFamily="34" charset="0"/>
              <a:sym typeface="Arial" panose="020B0604020202020204" pitchFamily="34" charset="0"/>
            </a:endParaRPr>
          </a:p>
        </p:txBody>
      </p:sp>
      <p:cxnSp>
        <p:nvCxnSpPr>
          <p:cNvPr id="43" name="Straight Connector 17">
            <a:extLst>
              <a:ext uri="{FF2B5EF4-FFF2-40B4-BE49-F238E27FC236}">
                <a16:creationId xmlns:a16="http://schemas.microsoft.com/office/drawing/2014/main" id="{D619BC49-E4EF-4BC0-B474-609F75846915}"/>
              </a:ext>
            </a:extLst>
          </p:cNvPr>
          <p:cNvCxnSpPr>
            <a:cxnSpLocks/>
          </p:cNvCxnSpPr>
          <p:nvPr/>
        </p:nvCxnSpPr>
        <p:spPr>
          <a:xfrm>
            <a:off x="1659750" y="1181906"/>
            <a:ext cx="997751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5" name="Titel 1">
            <a:extLst>
              <a:ext uri="{FF2B5EF4-FFF2-40B4-BE49-F238E27FC236}">
                <a16:creationId xmlns:a16="http://schemas.microsoft.com/office/drawing/2014/main" id="{ABE05CC7-87A9-4E18-AEA7-3CFE48FBF726}"/>
              </a:ext>
            </a:extLst>
          </p:cNvPr>
          <p:cNvSpPr>
            <a:spLocks noGrp="1"/>
          </p:cNvSpPr>
          <p:nvPr>
            <p:ph type="title"/>
          </p:nvPr>
        </p:nvSpPr>
        <p:spPr>
          <a:xfrm>
            <a:off x="1659750" y="372123"/>
            <a:ext cx="9977511" cy="677691"/>
          </a:xfrm>
        </p:spPr>
        <p:txBody>
          <a:bodyPr>
            <a:noAutofit/>
          </a:bodyPr>
          <a:lstStyle/>
          <a:p>
            <a:br>
              <a:rPr lang="nb-NO" sz="2800" dirty="0">
                <a:solidFill>
                  <a:srgbClr val="01509E"/>
                </a:solidFill>
              </a:rPr>
            </a:br>
            <a:r>
              <a:rPr lang="nb-NO" sz="2800" dirty="0">
                <a:solidFill>
                  <a:srgbClr val="01509E"/>
                </a:solidFill>
              </a:rPr>
              <a:t>Application</a:t>
            </a:r>
            <a:br>
              <a:rPr lang="en-US" sz="2800" dirty="0">
                <a:latin typeface="Arial" panose="020B0604020202020204" pitchFamily="34" charset="0"/>
                <a:cs typeface="Arial" panose="020B0604020202020204" pitchFamily="34" charset="0"/>
              </a:rPr>
            </a:br>
            <a:endParaRPr lang="en-US" sz="2800" b="0" dirty="0">
              <a:latin typeface="Arial" panose="020B0604020202020204" pitchFamily="34" charset="0"/>
              <a:cs typeface="Arial" panose="020B0604020202020204" pitchFamily="34" charset="0"/>
            </a:endParaRPr>
          </a:p>
        </p:txBody>
      </p:sp>
      <p:sp>
        <p:nvSpPr>
          <p:cNvPr id="7" name="Plassholder for innhold 2">
            <a:extLst>
              <a:ext uri="{FF2B5EF4-FFF2-40B4-BE49-F238E27FC236}">
                <a16:creationId xmlns:a16="http://schemas.microsoft.com/office/drawing/2014/main" id="{63991A79-2DF5-4987-8986-F8B6237BF2C9}"/>
              </a:ext>
            </a:extLst>
          </p:cNvPr>
          <p:cNvSpPr>
            <a:spLocks noGrp="1"/>
          </p:cNvSpPr>
          <p:nvPr>
            <p:ph idx="1"/>
          </p:nvPr>
        </p:nvSpPr>
        <p:spPr>
          <a:xfrm>
            <a:off x="1659748" y="1181905"/>
            <a:ext cx="10309095" cy="4884155"/>
          </a:xfrm>
        </p:spPr>
        <p:txBody>
          <a:bodyPr>
            <a:normAutofit/>
          </a:bodyPr>
          <a:lstStyle/>
          <a:p>
            <a:pPr>
              <a:lnSpc>
                <a:spcPct val="110000"/>
              </a:lnSpc>
              <a:buFont typeface="Wingdings" panose="05000000000000000000" pitchFamily="2" charset="2"/>
              <a:buChar char="§"/>
            </a:pPr>
            <a:r>
              <a:rPr lang="en-US" sz="2000" dirty="0">
                <a:latin typeface="Arial" panose="020B0604020202020204" pitchFamily="34" charset="0"/>
                <a:cs typeface="Arial" panose="020B0604020202020204" pitchFamily="34" charset="0"/>
              </a:rPr>
              <a:t>Digital Twins for smart city.</a:t>
            </a:r>
          </a:p>
          <a:p>
            <a:pPr>
              <a:lnSpc>
                <a:spcPct val="110000"/>
              </a:lnSpc>
              <a:buFont typeface="Wingdings" panose="05000000000000000000" pitchFamily="2" charset="2"/>
              <a:buChar char="§"/>
            </a:pPr>
            <a:endParaRPr lang="en-US" sz="2000" dirty="0">
              <a:latin typeface="Arial" panose="020B0604020202020204" pitchFamily="34" charset="0"/>
              <a:cs typeface="Arial" panose="020B0604020202020204" pitchFamily="34" charset="0"/>
            </a:endParaRPr>
          </a:p>
          <a:p>
            <a:pPr>
              <a:lnSpc>
                <a:spcPct val="110000"/>
              </a:lnSpc>
              <a:buFont typeface="Wingdings" panose="05000000000000000000" pitchFamily="2" charset="2"/>
              <a:buChar char="§"/>
            </a:pPr>
            <a:endParaRPr lang="en-US" sz="2000" dirty="0">
              <a:latin typeface="Arial" panose="020B0604020202020204" pitchFamily="34" charset="0"/>
              <a:cs typeface="Arial" panose="020B0604020202020204" pitchFamily="34" charset="0"/>
            </a:endParaRPr>
          </a:p>
          <a:p>
            <a:pPr marL="0" indent="0">
              <a:lnSpc>
                <a:spcPct val="110000"/>
              </a:lnSpc>
              <a:buNone/>
            </a:pPr>
            <a:endParaRPr lang="en-US" sz="2000" dirty="0">
              <a:latin typeface="Arial" panose="020B0604020202020204" pitchFamily="34" charset="0"/>
              <a:cs typeface="Arial" panose="020B0604020202020204" pitchFamily="34" charset="0"/>
            </a:endParaRPr>
          </a:p>
          <a:p>
            <a:pPr>
              <a:lnSpc>
                <a:spcPct val="110000"/>
              </a:lnSpc>
              <a:buFont typeface="Wingdings" panose="05000000000000000000" pitchFamily="2" charset="2"/>
              <a:buChar char="§"/>
            </a:pPr>
            <a:endParaRPr lang="en-US" sz="1900" dirty="0">
              <a:latin typeface="Arial" panose="020B0604020202020204" pitchFamily="34" charset="0"/>
              <a:cs typeface="Arial" panose="020B0604020202020204" pitchFamily="34" charset="0"/>
            </a:endParaRPr>
          </a:p>
          <a:p>
            <a:pPr>
              <a:lnSpc>
                <a:spcPct val="110000"/>
              </a:lnSpc>
              <a:buFont typeface="Wingdings" panose="05000000000000000000" pitchFamily="2" charset="2"/>
              <a:buChar char="§"/>
            </a:pPr>
            <a:endParaRPr lang="en-US" sz="1900" dirty="0">
              <a:latin typeface="Arial" panose="020B0604020202020204" pitchFamily="34" charset="0"/>
              <a:cs typeface="Arial" panose="020B0604020202020204" pitchFamily="34" charset="0"/>
            </a:endParaRPr>
          </a:p>
          <a:p>
            <a:pPr marL="0" indent="0">
              <a:buNone/>
            </a:pPr>
            <a:endParaRPr lang="en-US" sz="1800" dirty="0"/>
          </a:p>
        </p:txBody>
      </p:sp>
      <p:pic>
        <p:nvPicPr>
          <p:cNvPr id="4" name="Picture 3">
            <a:extLst>
              <a:ext uri="{FF2B5EF4-FFF2-40B4-BE49-F238E27FC236}">
                <a16:creationId xmlns:a16="http://schemas.microsoft.com/office/drawing/2014/main" id="{DB010889-BA8E-4202-BB4E-966615939D06}"/>
              </a:ext>
            </a:extLst>
          </p:cNvPr>
          <p:cNvPicPr>
            <a:picLocks noChangeAspect="1"/>
          </p:cNvPicPr>
          <p:nvPr/>
        </p:nvPicPr>
        <p:blipFill>
          <a:blip r:embed="rId7"/>
          <a:stretch>
            <a:fillRect/>
          </a:stretch>
        </p:blipFill>
        <p:spPr>
          <a:xfrm>
            <a:off x="3261806" y="2829082"/>
            <a:ext cx="6551061" cy="3673813"/>
          </a:xfrm>
          <a:prstGeom prst="rect">
            <a:avLst/>
          </a:prstGeom>
        </p:spPr>
      </p:pic>
      <p:pic>
        <p:nvPicPr>
          <p:cNvPr id="6" name="Picture 5">
            <a:extLst>
              <a:ext uri="{FF2B5EF4-FFF2-40B4-BE49-F238E27FC236}">
                <a16:creationId xmlns:a16="http://schemas.microsoft.com/office/drawing/2014/main" id="{9ADDB621-76A4-4822-B8E7-00E330CE06E0}"/>
              </a:ext>
            </a:extLst>
          </p:cNvPr>
          <p:cNvPicPr>
            <a:picLocks noChangeAspect="1"/>
          </p:cNvPicPr>
          <p:nvPr/>
        </p:nvPicPr>
        <p:blipFill>
          <a:blip r:embed="rId8"/>
          <a:stretch>
            <a:fillRect/>
          </a:stretch>
        </p:blipFill>
        <p:spPr>
          <a:xfrm>
            <a:off x="2984824" y="2952799"/>
            <a:ext cx="7327295" cy="3533078"/>
          </a:xfrm>
          <a:prstGeom prst="rect">
            <a:avLst/>
          </a:prstGeom>
        </p:spPr>
      </p:pic>
      <p:sp>
        <p:nvSpPr>
          <p:cNvPr id="13" name="TextBox 12">
            <a:extLst>
              <a:ext uri="{FF2B5EF4-FFF2-40B4-BE49-F238E27FC236}">
                <a16:creationId xmlns:a16="http://schemas.microsoft.com/office/drawing/2014/main" id="{98C99FC6-ABEE-4EB4-AF9E-32A02074C705}"/>
              </a:ext>
            </a:extLst>
          </p:cNvPr>
          <p:cNvSpPr txBox="1"/>
          <p:nvPr/>
        </p:nvSpPr>
        <p:spPr>
          <a:xfrm>
            <a:off x="4111920" y="6400772"/>
            <a:ext cx="6096001" cy="369332"/>
          </a:xfrm>
          <a:prstGeom prst="rect">
            <a:avLst/>
          </a:prstGeom>
          <a:noFill/>
        </p:spPr>
        <p:txBody>
          <a:bodyPr wrap="square">
            <a:spAutoFit/>
          </a:bodyPr>
          <a:lstStyle/>
          <a:p>
            <a:r>
              <a:rPr lang="en-US" sz="1800" dirty="0"/>
              <a:t>Ålesund Heatmap of energy usage per day, March 2020.</a:t>
            </a:r>
            <a:endParaRPr lang="en-GB" sz="1800" dirty="0"/>
          </a:p>
        </p:txBody>
      </p:sp>
      <p:sp>
        <p:nvSpPr>
          <p:cNvPr id="15" name="TextBox 14">
            <a:extLst>
              <a:ext uri="{FF2B5EF4-FFF2-40B4-BE49-F238E27FC236}">
                <a16:creationId xmlns:a16="http://schemas.microsoft.com/office/drawing/2014/main" id="{AABEDB1E-3DE6-4CFD-93A0-E6E7189223EF}"/>
              </a:ext>
            </a:extLst>
          </p:cNvPr>
          <p:cNvSpPr txBox="1"/>
          <p:nvPr/>
        </p:nvSpPr>
        <p:spPr>
          <a:xfrm>
            <a:off x="4966576" y="6502895"/>
            <a:ext cx="4414491" cy="369332"/>
          </a:xfrm>
          <a:prstGeom prst="rect">
            <a:avLst/>
          </a:prstGeom>
          <a:noFill/>
        </p:spPr>
        <p:txBody>
          <a:bodyPr wrap="square">
            <a:spAutoFit/>
          </a:bodyPr>
          <a:lstStyle/>
          <a:p>
            <a:r>
              <a:rPr lang="en-GB" sz="1800" dirty="0"/>
              <a:t>Electricity Data Infrastructure.</a:t>
            </a:r>
          </a:p>
        </p:txBody>
      </p:sp>
      <p:sp>
        <p:nvSpPr>
          <p:cNvPr id="16" name="TextBox 15">
            <a:extLst>
              <a:ext uri="{FF2B5EF4-FFF2-40B4-BE49-F238E27FC236}">
                <a16:creationId xmlns:a16="http://schemas.microsoft.com/office/drawing/2014/main" id="{E779AC4F-962E-4FE4-926A-13196498E728}"/>
              </a:ext>
            </a:extLst>
          </p:cNvPr>
          <p:cNvSpPr txBox="1"/>
          <p:nvPr/>
        </p:nvSpPr>
        <p:spPr>
          <a:xfrm>
            <a:off x="1918576" y="2090284"/>
            <a:ext cx="9718688" cy="646331"/>
          </a:xfrm>
          <a:prstGeom prst="rect">
            <a:avLst/>
          </a:prstGeom>
          <a:noFill/>
        </p:spPr>
        <p:txBody>
          <a:bodyPr wrap="square">
            <a:spAutoFit/>
          </a:bodyPr>
          <a:lstStyle/>
          <a:p>
            <a:pPr marL="285750" indent="-285750">
              <a:buFont typeface="Wingdings" panose="05000000000000000000" pitchFamily="2" charset="2"/>
              <a:buChar char="Ø"/>
            </a:pPr>
            <a:r>
              <a:rPr lang="en-US" sz="1800" dirty="0"/>
              <a:t>The transfer of the data from the consumers is handled by an advanced measuring and control system (AMS). It is installed at the premises and centralized in a nationwide datahub. </a:t>
            </a:r>
          </a:p>
        </p:txBody>
      </p:sp>
      <p:sp>
        <p:nvSpPr>
          <p:cNvPr id="17" name="TextBox 16">
            <a:extLst>
              <a:ext uri="{FF2B5EF4-FFF2-40B4-BE49-F238E27FC236}">
                <a16:creationId xmlns:a16="http://schemas.microsoft.com/office/drawing/2014/main" id="{774C9CCF-8533-4965-AF62-7FC94D0D8842}"/>
              </a:ext>
            </a:extLst>
          </p:cNvPr>
          <p:cNvSpPr txBox="1"/>
          <p:nvPr/>
        </p:nvSpPr>
        <p:spPr>
          <a:xfrm>
            <a:off x="1918576" y="1695895"/>
            <a:ext cx="6096000" cy="369332"/>
          </a:xfrm>
          <a:prstGeom prst="rect">
            <a:avLst/>
          </a:prstGeom>
          <a:noFill/>
        </p:spPr>
        <p:txBody>
          <a:bodyPr wrap="square">
            <a:spAutoFit/>
          </a:bodyPr>
          <a:lstStyle/>
          <a:p>
            <a:pPr marL="285750" indent="-285750">
              <a:buFont typeface="Wingdings" panose="05000000000000000000" pitchFamily="2" charset="2"/>
              <a:buChar char="Ø"/>
            </a:pPr>
            <a:r>
              <a:rPr lang="en-US" sz="1800" dirty="0"/>
              <a:t>Measuring and visualizing the </a:t>
            </a:r>
            <a:r>
              <a:rPr lang="en-GB" sz="1800" dirty="0"/>
              <a:t>energy consumption.</a:t>
            </a:r>
          </a:p>
        </p:txBody>
      </p:sp>
      <p:sp>
        <p:nvSpPr>
          <p:cNvPr id="18" name="Speech Bubble: Oval 17">
            <a:extLst>
              <a:ext uri="{FF2B5EF4-FFF2-40B4-BE49-F238E27FC236}">
                <a16:creationId xmlns:a16="http://schemas.microsoft.com/office/drawing/2014/main" id="{3F893C94-A5A1-4F3C-9083-B86DC2DB5079}"/>
              </a:ext>
            </a:extLst>
          </p:cNvPr>
          <p:cNvSpPr/>
          <p:nvPr/>
        </p:nvSpPr>
        <p:spPr>
          <a:xfrm>
            <a:off x="8317547" y="3793067"/>
            <a:ext cx="1630786" cy="608270"/>
          </a:xfrm>
          <a:prstGeom prst="wedgeEllipseCallout">
            <a:avLst>
              <a:gd name="adj1" fmla="val -48221"/>
              <a:gd name="adj2" fmla="val 56579"/>
            </a:avLst>
          </a:prstGeom>
          <a:solidFill>
            <a:schemeClr val="tx2">
              <a:lumMod val="20000"/>
              <a:lumOff val="80000"/>
            </a:schemeClr>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600" dirty="0">
                <a:solidFill>
                  <a:schemeClr val="tx1"/>
                </a:solidFill>
              </a:rPr>
              <a:t>Residential areas</a:t>
            </a:r>
          </a:p>
        </p:txBody>
      </p:sp>
      <p:sp>
        <p:nvSpPr>
          <p:cNvPr id="19" name="Speech Bubble: Oval 18">
            <a:extLst>
              <a:ext uri="{FF2B5EF4-FFF2-40B4-BE49-F238E27FC236}">
                <a16:creationId xmlns:a16="http://schemas.microsoft.com/office/drawing/2014/main" id="{7661BC01-3AC6-45BB-A7BF-6EDFDD0EBE95}"/>
              </a:ext>
            </a:extLst>
          </p:cNvPr>
          <p:cNvSpPr/>
          <p:nvPr/>
        </p:nvSpPr>
        <p:spPr>
          <a:xfrm>
            <a:off x="5346178" y="3877734"/>
            <a:ext cx="1630786" cy="608270"/>
          </a:xfrm>
          <a:prstGeom prst="wedgeEllipseCallout">
            <a:avLst>
              <a:gd name="adj1" fmla="val -48221"/>
              <a:gd name="adj2" fmla="val 56579"/>
            </a:avLst>
          </a:prstGeom>
          <a:solidFill>
            <a:schemeClr val="tx2">
              <a:lumMod val="20000"/>
              <a:lumOff val="80000"/>
            </a:schemeClr>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600" dirty="0">
                <a:solidFill>
                  <a:schemeClr val="tx1"/>
                </a:solidFill>
              </a:rPr>
              <a:t>Industrial  districts</a:t>
            </a:r>
          </a:p>
        </p:txBody>
      </p:sp>
    </p:spTree>
    <p:extLst>
      <p:ext uri="{BB962C8B-B14F-4D97-AF65-F5344CB8AC3E}">
        <p14:creationId xmlns:p14="http://schemas.microsoft.com/office/powerpoint/2010/main" val="26761359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4"/>
                                        </p:tgtEl>
                                        <p:attrNameLst>
                                          <p:attrName>style.visibility</p:attrName>
                                        </p:attrNameLst>
                                      </p:cBhvr>
                                      <p:to>
                                        <p:strVal val="hidden"/>
                                      </p:to>
                                    </p:set>
                                  </p:childTnLst>
                                </p:cTn>
                              </p:par>
                              <p:par>
                                <p:cTn id="7" presetID="1" presetClass="exit" presetSubtype="0" fill="hold" grpId="0" nodeType="withEffect">
                                  <p:stCondLst>
                                    <p:cond delay="0"/>
                                  </p:stCondLst>
                                  <p:childTnLst>
                                    <p:set>
                                      <p:cBhvr>
                                        <p:cTn id="8" dur="1" fill="hold">
                                          <p:stCondLst>
                                            <p:cond delay="0"/>
                                          </p:stCondLst>
                                        </p:cTn>
                                        <p:tgtEl>
                                          <p:spTgt spid="15"/>
                                        </p:tgtEl>
                                        <p:attrNameLst>
                                          <p:attrName>style.visibility</p:attrName>
                                        </p:attrNameLst>
                                      </p:cBhvr>
                                      <p:to>
                                        <p:strVal val="hidden"/>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5" grpId="0"/>
      <p:bldP spid="18" grpId="0" animBg="1"/>
      <p:bldP spid="19"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2" name="Object 41" hidden="1">
            <a:extLst>
              <a:ext uri="{FF2B5EF4-FFF2-40B4-BE49-F238E27FC236}">
                <a16:creationId xmlns:a16="http://schemas.microsoft.com/office/drawing/2014/main" id="{301463C9-2282-4A0F-819B-75374BE71C9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42" name="Object 41" hidden="1">
                        <a:extLst>
                          <a:ext uri="{FF2B5EF4-FFF2-40B4-BE49-F238E27FC236}">
                            <a16:creationId xmlns:a16="http://schemas.microsoft.com/office/drawing/2014/main" id="{301463C9-2282-4A0F-819B-75374BE71C9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6" name="Rectangle 45" hidden="1">
            <a:extLst>
              <a:ext uri="{FF2B5EF4-FFF2-40B4-BE49-F238E27FC236}">
                <a16:creationId xmlns:a16="http://schemas.microsoft.com/office/drawing/2014/main" id="{CADF9BBE-ADA6-4A36-A7C9-EC1296DE314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dirty="0">
              <a:latin typeface="Arial" panose="020B0604020202020204" pitchFamily="34" charset="0"/>
              <a:ea typeface="+mj-ea"/>
              <a:cs typeface="Arial" panose="020B0604020202020204" pitchFamily="34" charset="0"/>
              <a:sym typeface="Arial" panose="020B0604020202020204" pitchFamily="34" charset="0"/>
            </a:endParaRPr>
          </a:p>
        </p:txBody>
      </p:sp>
      <p:cxnSp>
        <p:nvCxnSpPr>
          <p:cNvPr id="43" name="Straight Connector 17">
            <a:extLst>
              <a:ext uri="{FF2B5EF4-FFF2-40B4-BE49-F238E27FC236}">
                <a16:creationId xmlns:a16="http://schemas.microsoft.com/office/drawing/2014/main" id="{D619BC49-E4EF-4BC0-B474-609F75846915}"/>
              </a:ext>
            </a:extLst>
          </p:cNvPr>
          <p:cNvCxnSpPr>
            <a:cxnSpLocks/>
          </p:cNvCxnSpPr>
          <p:nvPr/>
        </p:nvCxnSpPr>
        <p:spPr>
          <a:xfrm>
            <a:off x="1659750" y="1181906"/>
            <a:ext cx="997751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5" name="Titel 1">
            <a:extLst>
              <a:ext uri="{FF2B5EF4-FFF2-40B4-BE49-F238E27FC236}">
                <a16:creationId xmlns:a16="http://schemas.microsoft.com/office/drawing/2014/main" id="{ABE05CC7-87A9-4E18-AEA7-3CFE48FBF726}"/>
              </a:ext>
            </a:extLst>
          </p:cNvPr>
          <p:cNvSpPr>
            <a:spLocks noGrp="1"/>
          </p:cNvSpPr>
          <p:nvPr>
            <p:ph type="title"/>
          </p:nvPr>
        </p:nvSpPr>
        <p:spPr>
          <a:xfrm>
            <a:off x="1659750" y="372123"/>
            <a:ext cx="9977511" cy="677691"/>
          </a:xfrm>
        </p:spPr>
        <p:txBody>
          <a:bodyPr>
            <a:noAutofit/>
          </a:bodyPr>
          <a:lstStyle/>
          <a:p>
            <a:br>
              <a:rPr lang="nb-NO" sz="2800" dirty="0">
                <a:solidFill>
                  <a:srgbClr val="01509E"/>
                </a:solidFill>
              </a:rPr>
            </a:br>
            <a:r>
              <a:rPr lang="nb-NO" sz="2800" dirty="0">
                <a:solidFill>
                  <a:srgbClr val="01509E"/>
                </a:solidFill>
              </a:rPr>
              <a:t>Application</a:t>
            </a:r>
            <a:br>
              <a:rPr lang="en-US" sz="2800" dirty="0">
                <a:latin typeface="Arial" panose="020B0604020202020204" pitchFamily="34" charset="0"/>
                <a:cs typeface="Arial" panose="020B0604020202020204" pitchFamily="34" charset="0"/>
              </a:rPr>
            </a:br>
            <a:endParaRPr lang="en-US" sz="2800" b="0" dirty="0">
              <a:latin typeface="Arial" panose="020B0604020202020204" pitchFamily="34" charset="0"/>
              <a:cs typeface="Arial" panose="020B0604020202020204" pitchFamily="34" charset="0"/>
            </a:endParaRPr>
          </a:p>
        </p:txBody>
      </p:sp>
      <p:sp>
        <p:nvSpPr>
          <p:cNvPr id="7" name="Plassholder for innhold 2">
            <a:extLst>
              <a:ext uri="{FF2B5EF4-FFF2-40B4-BE49-F238E27FC236}">
                <a16:creationId xmlns:a16="http://schemas.microsoft.com/office/drawing/2014/main" id="{63991A79-2DF5-4987-8986-F8B6237BF2C9}"/>
              </a:ext>
            </a:extLst>
          </p:cNvPr>
          <p:cNvSpPr>
            <a:spLocks noGrp="1"/>
          </p:cNvSpPr>
          <p:nvPr>
            <p:ph idx="1"/>
          </p:nvPr>
        </p:nvSpPr>
        <p:spPr>
          <a:xfrm>
            <a:off x="1659748" y="1181905"/>
            <a:ext cx="10309095" cy="4884155"/>
          </a:xfrm>
        </p:spPr>
        <p:txBody>
          <a:bodyPr>
            <a:normAutofit/>
          </a:bodyPr>
          <a:lstStyle/>
          <a:p>
            <a:pPr>
              <a:lnSpc>
                <a:spcPct val="110000"/>
              </a:lnSpc>
              <a:buFont typeface="Wingdings" panose="05000000000000000000" pitchFamily="2" charset="2"/>
              <a:buChar char="§"/>
            </a:pPr>
            <a:r>
              <a:rPr lang="en-US" sz="2000" dirty="0">
                <a:latin typeface="Arial" panose="020B0604020202020204" pitchFamily="34" charset="0"/>
                <a:cs typeface="Arial" panose="020B0604020202020204" pitchFamily="34" charset="0"/>
              </a:rPr>
              <a:t>Digital Twins for smart city.</a:t>
            </a:r>
          </a:p>
          <a:p>
            <a:pPr>
              <a:lnSpc>
                <a:spcPct val="110000"/>
              </a:lnSpc>
              <a:buFont typeface="Wingdings" panose="05000000000000000000" pitchFamily="2" charset="2"/>
              <a:buChar char="§"/>
            </a:pPr>
            <a:endParaRPr lang="en-US" sz="2000" dirty="0">
              <a:latin typeface="Arial" panose="020B0604020202020204" pitchFamily="34" charset="0"/>
              <a:cs typeface="Arial" panose="020B0604020202020204" pitchFamily="34" charset="0"/>
            </a:endParaRPr>
          </a:p>
          <a:p>
            <a:pPr>
              <a:lnSpc>
                <a:spcPct val="110000"/>
              </a:lnSpc>
              <a:buFont typeface="Wingdings" panose="05000000000000000000" pitchFamily="2" charset="2"/>
              <a:buChar char="§"/>
            </a:pPr>
            <a:endParaRPr lang="en-US" sz="2000" dirty="0">
              <a:latin typeface="Arial" panose="020B0604020202020204" pitchFamily="34" charset="0"/>
              <a:cs typeface="Arial" panose="020B0604020202020204" pitchFamily="34" charset="0"/>
            </a:endParaRPr>
          </a:p>
          <a:p>
            <a:pPr marL="0" indent="0">
              <a:lnSpc>
                <a:spcPct val="110000"/>
              </a:lnSpc>
              <a:buNone/>
            </a:pPr>
            <a:endParaRPr lang="en-US" sz="2000" dirty="0">
              <a:latin typeface="Arial" panose="020B0604020202020204" pitchFamily="34" charset="0"/>
              <a:cs typeface="Arial" panose="020B0604020202020204" pitchFamily="34" charset="0"/>
            </a:endParaRPr>
          </a:p>
          <a:p>
            <a:pPr>
              <a:lnSpc>
                <a:spcPct val="110000"/>
              </a:lnSpc>
              <a:buFont typeface="Wingdings" panose="05000000000000000000" pitchFamily="2" charset="2"/>
              <a:buChar char="§"/>
            </a:pPr>
            <a:endParaRPr lang="en-US" sz="1900" dirty="0">
              <a:latin typeface="Arial" panose="020B0604020202020204" pitchFamily="34" charset="0"/>
              <a:cs typeface="Arial" panose="020B0604020202020204" pitchFamily="34" charset="0"/>
            </a:endParaRPr>
          </a:p>
          <a:p>
            <a:pPr>
              <a:lnSpc>
                <a:spcPct val="110000"/>
              </a:lnSpc>
              <a:buFont typeface="Wingdings" panose="05000000000000000000" pitchFamily="2" charset="2"/>
              <a:buChar char="§"/>
            </a:pPr>
            <a:endParaRPr lang="en-US" sz="1900" dirty="0">
              <a:latin typeface="Arial" panose="020B0604020202020204" pitchFamily="34" charset="0"/>
              <a:cs typeface="Arial" panose="020B0604020202020204" pitchFamily="34" charset="0"/>
            </a:endParaRPr>
          </a:p>
          <a:p>
            <a:pPr marL="0" indent="0">
              <a:buNone/>
            </a:pPr>
            <a:endParaRPr lang="en-US" sz="1800" dirty="0"/>
          </a:p>
        </p:txBody>
      </p:sp>
      <p:sp>
        <p:nvSpPr>
          <p:cNvPr id="15" name="TextBox 14">
            <a:extLst>
              <a:ext uri="{FF2B5EF4-FFF2-40B4-BE49-F238E27FC236}">
                <a16:creationId xmlns:a16="http://schemas.microsoft.com/office/drawing/2014/main" id="{AABEDB1E-3DE6-4CFD-93A0-E6E7189223EF}"/>
              </a:ext>
            </a:extLst>
          </p:cNvPr>
          <p:cNvSpPr txBox="1"/>
          <p:nvPr/>
        </p:nvSpPr>
        <p:spPr>
          <a:xfrm>
            <a:off x="5097348" y="6357374"/>
            <a:ext cx="4131319" cy="369332"/>
          </a:xfrm>
          <a:prstGeom prst="rect">
            <a:avLst/>
          </a:prstGeom>
          <a:noFill/>
        </p:spPr>
        <p:txBody>
          <a:bodyPr wrap="square">
            <a:spAutoFit/>
          </a:bodyPr>
          <a:lstStyle/>
          <a:p>
            <a:r>
              <a:rPr lang="en-GB" sz="1800" dirty="0"/>
              <a:t>Traffic Data Infrastructure.</a:t>
            </a:r>
          </a:p>
        </p:txBody>
      </p:sp>
      <p:pic>
        <p:nvPicPr>
          <p:cNvPr id="3" name="Picture 2">
            <a:extLst>
              <a:ext uri="{FF2B5EF4-FFF2-40B4-BE49-F238E27FC236}">
                <a16:creationId xmlns:a16="http://schemas.microsoft.com/office/drawing/2014/main" id="{F4AA1C41-FE00-4DFD-87AF-43E09D1344F4}"/>
              </a:ext>
            </a:extLst>
          </p:cNvPr>
          <p:cNvPicPr>
            <a:picLocks noChangeAspect="1"/>
          </p:cNvPicPr>
          <p:nvPr/>
        </p:nvPicPr>
        <p:blipFill>
          <a:blip r:embed="rId7"/>
          <a:stretch>
            <a:fillRect/>
          </a:stretch>
        </p:blipFill>
        <p:spPr>
          <a:xfrm>
            <a:off x="3390264" y="2973604"/>
            <a:ext cx="6058537" cy="3394544"/>
          </a:xfrm>
          <a:prstGeom prst="rect">
            <a:avLst/>
          </a:prstGeom>
        </p:spPr>
      </p:pic>
      <p:sp>
        <p:nvSpPr>
          <p:cNvPr id="16" name="TextBox 15">
            <a:extLst>
              <a:ext uri="{FF2B5EF4-FFF2-40B4-BE49-F238E27FC236}">
                <a16:creationId xmlns:a16="http://schemas.microsoft.com/office/drawing/2014/main" id="{BB017672-9B55-41BB-AE9E-82A455F6F835}"/>
              </a:ext>
            </a:extLst>
          </p:cNvPr>
          <p:cNvSpPr txBox="1"/>
          <p:nvPr/>
        </p:nvSpPr>
        <p:spPr>
          <a:xfrm>
            <a:off x="1918576" y="2090284"/>
            <a:ext cx="9718688" cy="646331"/>
          </a:xfrm>
          <a:prstGeom prst="rect">
            <a:avLst/>
          </a:prstGeom>
          <a:noFill/>
        </p:spPr>
        <p:txBody>
          <a:bodyPr wrap="square">
            <a:spAutoFit/>
          </a:bodyPr>
          <a:lstStyle/>
          <a:p>
            <a:pPr marL="285750" indent="-285750">
              <a:buFont typeface="Wingdings" panose="05000000000000000000" pitchFamily="2" charset="2"/>
              <a:buChar char="Ø"/>
            </a:pPr>
            <a:r>
              <a:rPr lang="en-US" sz="1800" dirty="0"/>
              <a:t>Mobility data can be gathered in many ways: IoT Data, cameras, GPS-data from mobile phones, manual counting and surveys, Bluetooth and Wi-Fi beacons, and cellular triangulation. </a:t>
            </a:r>
            <a:endParaRPr lang="en-GB" sz="1800" dirty="0"/>
          </a:p>
        </p:txBody>
      </p:sp>
      <p:sp>
        <p:nvSpPr>
          <p:cNvPr id="18" name="TextBox 17">
            <a:extLst>
              <a:ext uri="{FF2B5EF4-FFF2-40B4-BE49-F238E27FC236}">
                <a16:creationId xmlns:a16="http://schemas.microsoft.com/office/drawing/2014/main" id="{90BF9B7A-8F84-47E9-8808-5309BC7A01E2}"/>
              </a:ext>
            </a:extLst>
          </p:cNvPr>
          <p:cNvSpPr txBox="1"/>
          <p:nvPr/>
        </p:nvSpPr>
        <p:spPr>
          <a:xfrm>
            <a:off x="1918576" y="1695895"/>
            <a:ext cx="6096000" cy="369332"/>
          </a:xfrm>
          <a:prstGeom prst="rect">
            <a:avLst/>
          </a:prstGeom>
          <a:noFill/>
        </p:spPr>
        <p:txBody>
          <a:bodyPr wrap="square">
            <a:spAutoFit/>
          </a:bodyPr>
          <a:lstStyle/>
          <a:p>
            <a:pPr marL="285750" indent="-285750">
              <a:buFont typeface="Wingdings" panose="05000000000000000000" pitchFamily="2" charset="2"/>
              <a:buChar char="Ø"/>
            </a:pPr>
            <a:r>
              <a:rPr lang="en-US" sz="1800" dirty="0"/>
              <a:t>Measuring and visualizing the flow of persons and vehicles.</a:t>
            </a:r>
            <a:endParaRPr lang="en-GB" sz="1800" dirty="0"/>
          </a:p>
        </p:txBody>
      </p:sp>
      <p:pic>
        <p:nvPicPr>
          <p:cNvPr id="19" name="Picture 18">
            <a:extLst>
              <a:ext uri="{FF2B5EF4-FFF2-40B4-BE49-F238E27FC236}">
                <a16:creationId xmlns:a16="http://schemas.microsoft.com/office/drawing/2014/main" id="{AD4BF6C4-57E1-4054-A2A7-78725D075BD6}"/>
              </a:ext>
            </a:extLst>
          </p:cNvPr>
          <p:cNvPicPr>
            <a:picLocks noChangeAspect="1"/>
          </p:cNvPicPr>
          <p:nvPr/>
        </p:nvPicPr>
        <p:blipFill>
          <a:blip r:embed="rId8"/>
          <a:stretch>
            <a:fillRect/>
          </a:stretch>
        </p:blipFill>
        <p:spPr>
          <a:xfrm>
            <a:off x="3123159" y="2825487"/>
            <a:ext cx="6799775" cy="3531887"/>
          </a:xfrm>
          <a:prstGeom prst="rect">
            <a:avLst/>
          </a:prstGeom>
        </p:spPr>
      </p:pic>
      <p:sp>
        <p:nvSpPr>
          <p:cNvPr id="20" name="TextBox 19">
            <a:extLst>
              <a:ext uri="{FF2B5EF4-FFF2-40B4-BE49-F238E27FC236}">
                <a16:creationId xmlns:a16="http://schemas.microsoft.com/office/drawing/2014/main" id="{79196EA6-CB89-416D-99D4-B5937BE1CB81}"/>
              </a:ext>
            </a:extLst>
          </p:cNvPr>
          <p:cNvSpPr txBox="1"/>
          <p:nvPr/>
        </p:nvSpPr>
        <p:spPr>
          <a:xfrm>
            <a:off x="5006206" y="6320825"/>
            <a:ext cx="3868438" cy="369332"/>
          </a:xfrm>
          <a:prstGeom prst="rect">
            <a:avLst/>
          </a:prstGeom>
          <a:noFill/>
        </p:spPr>
        <p:txBody>
          <a:bodyPr wrap="square">
            <a:spAutoFit/>
          </a:bodyPr>
          <a:lstStyle/>
          <a:p>
            <a:r>
              <a:rPr lang="en-GB" sz="1800" dirty="0"/>
              <a:t>Traffic visualization, March 2020</a:t>
            </a:r>
            <a:r>
              <a:rPr lang="en-US" sz="1800" dirty="0"/>
              <a:t>.</a:t>
            </a:r>
            <a:endParaRPr lang="en-GB" sz="1800" dirty="0"/>
          </a:p>
        </p:txBody>
      </p:sp>
    </p:spTree>
    <p:extLst>
      <p:ext uri="{BB962C8B-B14F-4D97-AF65-F5344CB8AC3E}">
        <p14:creationId xmlns:p14="http://schemas.microsoft.com/office/powerpoint/2010/main" val="30915502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par>
                                <p:cTn id="7" presetID="1" presetClass="exit" presetSubtype="0" fill="hold" grpId="0" nodeType="withEffect">
                                  <p:stCondLst>
                                    <p:cond delay="0"/>
                                  </p:stCondLst>
                                  <p:childTnLst>
                                    <p:set>
                                      <p:cBhvr>
                                        <p:cTn id="8" dur="1" fill="hold">
                                          <p:stCondLst>
                                            <p:cond delay="0"/>
                                          </p:stCondLst>
                                        </p:cTn>
                                        <p:tgtEl>
                                          <p:spTgt spid="15"/>
                                        </p:tgtEl>
                                        <p:attrNameLst>
                                          <p:attrName>style.visibility</p:attrName>
                                        </p:attrNameLst>
                                      </p:cBhvr>
                                      <p:to>
                                        <p:strVal val="hidden"/>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20"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2" name="Object 41" hidden="1">
            <a:extLst>
              <a:ext uri="{FF2B5EF4-FFF2-40B4-BE49-F238E27FC236}">
                <a16:creationId xmlns:a16="http://schemas.microsoft.com/office/drawing/2014/main" id="{301463C9-2282-4A0F-819B-75374BE71C9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6" progId="TCLayout.ActiveDocument.1">
                  <p:embed/>
                </p:oleObj>
              </mc:Choice>
              <mc:Fallback>
                <p:oleObj name="think-cell Slide" r:id="rId6" imgW="395" imgH="396" progId="TCLayout.ActiveDocument.1">
                  <p:embed/>
                  <p:pic>
                    <p:nvPicPr>
                      <p:cNvPr id="42" name="Object 41" hidden="1">
                        <a:extLst>
                          <a:ext uri="{FF2B5EF4-FFF2-40B4-BE49-F238E27FC236}">
                            <a16:creationId xmlns:a16="http://schemas.microsoft.com/office/drawing/2014/main" id="{301463C9-2282-4A0F-819B-75374BE71C9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6" name="Rectangle 45" hidden="1">
            <a:extLst>
              <a:ext uri="{FF2B5EF4-FFF2-40B4-BE49-F238E27FC236}">
                <a16:creationId xmlns:a16="http://schemas.microsoft.com/office/drawing/2014/main" id="{CADF9BBE-ADA6-4A36-A7C9-EC1296DE314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dirty="0">
              <a:latin typeface="Arial" panose="020B0604020202020204" pitchFamily="34" charset="0"/>
              <a:ea typeface="+mj-ea"/>
              <a:cs typeface="Arial" panose="020B0604020202020204" pitchFamily="34" charset="0"/>
              <a:sym typeface="Arial" panose="020B0604020202020204" pitchFamily="34" charset="0"/>
            </a:endParaRPr>
          </a:p>
        </p:txBody>
      </p:sp>
      <p:cxnSp>
        <p:nvCxnSpPr>
          <p:cNvPr id="43" name="Straight Connector 17">
            <a:extLst>
              <a:ext uri="{FF2B5EF4-FFF2-40B4-BE49-F238E27FC236}">
                <a16:creationId xmlns:a16="http://schemas.microsoft.com/office/drawing/2014/main" id="{D619BC49-E4EF-4BC0-B474-609F75846915}"/>
              </a:ext>
            </a:extLst>
          </p:cNvPr>
          <p:cNvCxnSpPr>
            <a:cxnSpLocks/>
          </p:cNvCxnSpPr>
          <p:nvPr/>
        </p:nvCxnSpPr>
        <p:spPr>
          <a:xfrm>
            <a:off x="1659750" y="1181906"/>
            <a:ext cx="997751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5" name="Titel 1">
            <a:extLst>
              <a:ext uri="{FF2B5EF4-FFF2-40B4-BE49-F238E27FC236}">
                <a16:creationId xmlns:a16="http://schemas.microsoft.com/office/drawing/2014/main" id="{ABE05CC7-87A9-4E18-AEA7-3CFE48FBF726}"/>
              </a:ext>
            </a:extLst>
          </p:cNvPr>
          <p:cNvSpPr>
            <a:spLocks noGrp="1"/>
          </p:cNvSpPr>
          <p:nvPr>
            <p:ph type="title"/>
          </p:nvPr>
        </p:nvSpPr>
        <p:spPr>
          <a:xfrm>
            <a:off x="1659750" y="372123"/>
            <a:ext cx="9977511" cy="677691"/>
          </a:xfrm>
        </p:spPr>
        <p:txBody>
          <a:bodyPr>
            <a:noAutofit/>
          </a:bodyPr>
          <a:lstStyle/>
          <a:p>
            <a:br>
              <a:rPr lang="nb-NO" sz="2800" dirty="0">
                <a:solidFill>
                  <a:srgbClr val="01509E"/>
                </a:solidFill>
              </a:rPr>
            </a:br>
            <a:r>
              <a:rPr lang="nb-NO" sz="2800" dirty="0">
                <a:solidFill>
                  <a:srgbClr val="01509E"/>
                </a:solidFill>
              </a:rPr>
              <a:t>Application</a:t>
            </a:r>
            <a:br>
              <a:rPr lang="en-US" sz="2800" dirty="0">
                <a:latin typeface="Arial" panose="020B0604020202020204" pitchFamily="34" charset="0"/>
                <a:cs typeface="Arial" panose="020B0604020202020204" pitchFamily="34" charset="0"/>
              </a:rPr>
            </a:br>
            <a:endParaRPr lang="en-US" sz="2800" b="0" dirty="0">
              <a:latin typeface="Arial" panose="020B0604020202020204" pitchFamily="34" charset="0"/>
              <a:cs typeface="Arial" panose="020B0604020202020204" pitchFamily="34" charset="0"/>
            </a:endParaRPr>
          </a:p>
        </p:txBody>
      </p:sp>
      <p:sp>
        <p:nvSpPr>
          <p:cNvPr id="7" name="Plassholder for innhold 2">
            <a:extLst>
              <a:ext uri="{FF2B5EF4-FFF2-40B4-BE49-F238E27FC236}">
                <a16:creationId xmlns:a16="http://schemas.microsoft.com/office/drawing/2014/main" id="{63991A79-2DF5-4987-8986-F8B6237BF2C9}"/>
              </a:ext>
            </a:extLst>
          </p:cNvPr>
          <p:cNvSpPr>
            <a:spLocks noGrp="1"/>
          </p:cNvSpPr>
          <p:nvPr>
            <p:ph idx="1"/>
          </p:nvPr>
        </p:nvSpPr>
        <p:spPr>
          <a:xfrm>
            <a:off x="1659748" y="1181905"/>
            <a:ext cx="10309095" cy="4884155"/>
          </a:xfrm>
        </p:spPr>
        <p:txBody>
          <a:bodyPr>
            <a:normAutofit/>
          </a:bodyPr>
          <a:lstStyle/>
          <a:p>
            <a:pPr>
              <a:lnSpc>
                <a:spcPct val="110000"/>
              </a:lnSpc>
              <a:buFont typeface="Wingdings" panose="05000000000000000000" pitchFamily="2" charset="2"/>
              <a:buChar char="§"/>
            </a:pPr>
            <a:r>
              <a:rPr lang="en-US" sz="2000" dirty="0">
                <a:latin typeface="Arial" panose="020B0604020202020204" pitchFamily="34" charset="0"/>
                <a:cs typeface="Arial" panose="020B0604020202020204" pitchFamily="34" charset="0"/>
                <a:hlinkClick r:id="rId8"/>
              </a:rPr>
              <a:t>Maritime</a:t>
            </a:r>
            <a:endParaRPr lang="en-US" sz="2000" dirty="0">
              <a:latin typeface="Arial" panose="020B0604020202020204" pitchFamily="34" charset="0"/>
              <a:cs typeface="Arial" panose="020B0604020202020204" pitchFamily="34" charset="0"/>
            </a:endParaRPr>
          </a:p>
          <a:p>
            <a:pPr lvl="1">
              <a:lnSpc>
                <a:spcPct val="110000"/>
              </a:lnSpc>
              <a:buFont typeface="Wingdings" panose="05000000000000000000" pitchFamily="2" charset="2"/>
              <a:buChar char="§"/>
            </a:pPr>
            <a:r>
              <a:rPr lang="en-GB" sz="1800" dirty="0">
                <a:solidFill>
                  <a:srgbClr val="030303"/>
                </a:solidFill>
                <a:latin typeface="Roboto" panose="02000000000000000000" pitchFamily="2" charset="0"/>
              </a:rPr>
              <a:t>Drilling operations and production</a:t>
            </a:r>
          </a:p>
          <a:p>
            <a:pPr lvl="1">
              <a:lnSpc>
                <a:spcPct val="110000"/>
              </a:lnSpc>
              <a:buFont typeface="Wingdings" panose="05000000000000000000" pitchFamily="2" charset="2"/>
              <a:buChar char="§"/>
            </a:pPr>
            <a:r>
              <a:rPr lang="en-GB" sz="1800" dirty="0">
                <a:solidFill>
                  <a:srgbClr val="030303"/>
                </a:solidFill>
                <a:latin typeface="Roboto" panose="02000000000000000000" pitchFamily="2" charset="0"/>
                <a:cs typeface="Arial" panose="020B0604020202020204" pitchFamily="34" charset="0"/>
              </a:rPr>
              <a:t>Offshore infrastructure</a:t>
            </a:r>
          </a:p>
          <a:p>
            <a:pPr lvl="1">
              <a:lnSpc>
                <a:spcPct val="110000"/>
              </a:lnSpc>
              <a:buFont typeface="Wingdings" panose="05000000000000000000" pitchFamily="2" charset="2"/>
              <a:buChar char="§"/>
            </a:pPr>
            <a:r>
              <a:rPr lang="en-GB" sz="1800" dirty="0">
                <a:solidFill>
                  <a:srgbClr val="030303"/>
                </a:solidFill>
                <a:latin typeface="Roboto" panose="02000000000000000000" pitchFamily="2" charset="0"/>
                <a:cs typeface="Arial" panose="020B0604020202020204" pitchFamily="34" charset="0"/>
              </a:rPr>
              <a:t>Renewable energy</a:t>
            </a:r>
          </a:p>
          <a:p>
            <a:pPr lvl="1">
              <a:lnSpc>
                <a:spcPct val="110000"/>
              </a:lnSpc>
              <a:buFont typeface="Wingdings" panose="05000000000000000000" pitchFamily="2" charset="2"/>
              <a:buChar char="§"/>
            </a:pPr>
            <a:r>
              <a:rPr lang="en-GB" sz="1800" dirty="0">
                <a:solidFill>
                  <a:srgbClr val="030303"/>
                </a:solidFill>
                <a:latin typeface="Roboto" panose="02000000000000000000" pitchFamily="2" charset="0"/>
              </a:rPr>
              <a:t>Vessel navigation and control</a:t>
            </a:r>
          </a:p>
          <a:p>
            <a:pPr lvl="1">
              <a:lnSpc>
                <a:spcPct val="110000"/>
              </a:lnSpc>
              <a:buFont typeface="Wingdings" panose="05000000000000000000" pitchFamily="2" charset="2"/>
              <a:buChar char="§"/>
            </a:pPr>
            <a:endParaRPr lang="en-US" sz="1800" dirty="0">
              <a:latin typeface="Arial" panose="020B0604020202020204" pitchFamily="34" charset="0"/>
              <a:cs typeface="Arial" panose="020B0604020202020204" pitchFamily="34" charset="0"/>
            </a:endParaRPr>
          </a:p>
          <a:p>
            <a:pPr>
              <a:lnSpc>
                <a:spcPct val="110000"/>
              </a:lnSpc>
              <a:buFont typeface="Wingdings" panose="05000000000000000000" pitchFamily="2" charset="2"/>
              <a:buChar char="§"/>
            </a:pPr>
            <a:endParaRPr lang="en-US" sz="2000" dirty="0">
              <a:latin typeface="Arial" panose="020B0604020202020204" pitchFamily="34" charset="0"/>
              <a:cs typeface="Arial" panose="020B0604020202020204" pitchFamily="34" charset="0"/>
            </a:endParaRPr>
          </a:p>
          <a:p>
            <a:pPr>
              <a:lnSpc>
                <a:spcPct val="110000"/>
              </a:lnSpc>
              <a:buFont typeface="Wingdings" panose="05000000000000000000" pitchFamily="2" charset="2"/>
              <a:buChar char="§"/>
            </a:pPr>
            <a:endParaRPr lang="en-US" sz="2000" dirty="0">
              <a:latin typeface="Arial" panose="020B0604020202020204" pitchFamily="34" charset="0"/>
              <a:cs typeface="Arial" panose="020B0604020202020204" pitchFamily="34" charset="0"/>
            </a:endParaRPr>
          </a:p>
          <a:p>
            <a:pPr marL="0" indent="0">
              <a:lnSpc>
                <a:spcPct val="110000"/>
              </a:lnSpc>
              <a:buNone/>
            </a:pPr>
            <a:endParaRPr lang="en-US" sz="2000" dirty="0">
              <a:latin typeface="Arial" panose="020B0604020202020204" pitchFamily="34" charset="0"/>
              <a:cs typeface="Arial" panose="020B0604020202020204" pitchFamily="34" charset="0"/>
            </a:endParaRPr>
          </a:p>
          <a:p>
            <a:pPr>
              <a:lnSpc>
                <a:spcPct val="110000"/>
              </a:lnSpc>
              <a:buFont typeface="Wingdings" panose="05000000000000000000" pitchFamily="2" charset="2"/>
              <a:buChar char="§"/>
            </a:pPr>
            <a:endParaRPr lang="en-US" sz="1900" dirty="0">
              <a:latin typeface="Arial" panose="020B0604020202020204" pitchFamily="34" charset="0"/>
              <a:cs typeface="Arial" panose="020B0604020202020204" pitchFamily="34" charset="0"/>
            </a:endParaRPr>
          </a:p>
          <a:p>
            <a:pPr>
              <a:lnSpc>
                <a:spcPct val="110000"/>
              </a:lnSpc>
              <a:buFont typeface="Wingdings" panose="05000000000000000000" pitchFamily="2" charset="2"/>
              <a:buChar char="§"/>
            </a:pPr>
            <a:endParaRPr lang="en-US" sz="1900" dirty="0">
              <a:latin typeface="Arial" panose="020B0604020202020204" pitchFamily="34" charset="0"/>
              <a:cs typeface="Arial" panose="020B0604020202020204" pitchFamily="34" charset="0"/>
            </a:endParaRPr>
          </a:p>
          <a:p>
            <a:pPr marL="0" indent="0">
              <a:buNone/>
            </a:pPr>
            <a:endParaRPr lang="en-US" sz="1800" dirty="0"/>
          </a:p>
        </p:txBody>
      </p:sp>
      <p:pic>
        <p:nvPicPr>
          <p:cNvPr id="22530" name="Picture 2" descr="Image Credit: DNV GL">
            <a:extLst>
              <a:ext uri="{FF2B5EF4-FFF2-40B4-BE49-F238E27FC236}">
                <a16:creationId xmlns:a16="http://schemas.microsoft.com/office/drawing/2014/main" id="{779619B4-FB01-4996-9B7D-EFAF80049EF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691539" y="3251179"/>
            <a:ext cx="4404461" cy="2814881"/>
          </a:xfrm>
          <a:prstGeom prst="rect">
            <a:avLst/>
          </a:prstGeom>
          <a:noFill/>
          <a:extLst>
            <a:ext uri="{909E8E84-426E-40DD-AFC4-6F175D3DCCD1}">
              <a14:hiddenFill xmlns:a14="http://schemas.microsoft.com/office/drawing/2010/main">
                <a:solidFill>
                  <a:srgbClr val="FFFFFF"/>
                </a:solidFill>
              </a14:hiddenFill>
            </a:ext>
          </a:extLst>
        </p:spPr>
      </p:pic>
      <p:pic>
        <p:nvPicPr>
          <p:cNvPr id="4" name="Online Media 3" title="True Digital Twin">
            <a:hlinkClick r:id="" action="ppaction://media"/>
            <a:extLst>
              <a:ext uri="{FF2B5EF4-FFF2-40B4-BE49-F238E27FC236}">
                <a16:creationId xmlns:a16="http://schemas.microsoft.com/office/drawing/2014/main" id="{6327F766-DEF8-4C94-B8FB-CED314481F46}"/>
              </a:ext>
            </a:extLst>
          </p:cNvPr>
          <p:cNvPicPr>
            <a:picLocks noRot="1" noChangeAspect="1"/>
          </p:cNvPicPr>
          <p:nvPr>
            <a:videoFile r:link="rId3"/>
          </p:nvPr>
        </p:nvPicPr>
        <p:blipFill>
          <a:blip r:embed="rId10"/>
          <a:stretch>
            <a:fillRect/>
          </a:stretch>
        </p:blipFill>
        <p:spPr>
          <a:xfrm>
            <a:off x="6433031" y="3010435"/>
            <a:ext cx="5408185" cy="3055625"/>
          </a:xfrm>
          <a:prstGeom prst="rect">
            <a:avLst/>
          </a:prstGeom>
        </p:spPr>
      </p:pic>
    </p:spTree>
    <p:extLst>
      <p:ext uri="{BB962C8B-B14F-4D97-AF65-F5344CB8AC3E}">
        <p14:creationId xmlns:p14="http://schemas.microsoft.com/office/powerpoint/2010/main" val="7381708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2" name="Object 41" hidden="1">
            <a:extLst>
              <a:ext uri="{FF2B5EF4-FFF2-40B4-BE49-F238E27FC236}">
                <a16:creationId xmlns:a16="http://schemas.microsoft.com/office/drawing/2014/main" id="{301463C9-2282-4A0F-819B-75374BE71C9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6" progId="TCLayout.ActiveDocument.1">
                  <p:embed/>
                </p:oleObj>
              </mc:Choice>
              <mc:Fallback>
                <p:oleObj name="think-cell Slide" r:id="rId6" imgW="395" imgH="396" progId="TCLayout.ActiveDocument.1">
                  <p:embed/>
                  <p:pic>
                    <p:nvPicPr>
                      <p:cNvPr id="42" name="Object 41" hidden="1">
                        <a:extLst>
                          <a:ext uri="{FF2B5EF4-FFF2-40B4-BE49-F238E27FC236}">
                            <a16:creationId xmlns:a16="http://schemas.microsoft.com/office/drawing/2014/main" id="{301463C9-2282-4A0F-819B-75374BE71C9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6" name="Rectangle 45" hidden="1">
            <a:extLst>
              <a:ext uri="{FF2B5EF4-FFF2-40B4-BE49-F238E27FC236}">
                <a16:creationId xmlns:a16="http://schemas.microsoft.com/office/drawing/2014/main" id="{CADF9BBE-ADA6-4A36-A7C9-EC1296DE314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dirty="0">
              <a:latin typeface="Arial" panose="020B0604020202020204" pitchFamily="34" charset="0"/>
              <a:ea typeface="+mj-ea"/>
              <a:cs typeface="Arial" panose="020B0604020202020204" pitchFamily="34" charset="0"/>
              <a:sym typeface="Arial" panose="020B0604020202020204" pitchFamily="34" charset="0"/>
            </a:endParaRPr>
          </a:p>
        </p:txBody>
      </p:sp>
      <p:cxnSp>
        <p:nvCxnSpPr>
          <p:cNvPr id="43" name="Straight Connector 17">
            <a:extLst>
              <a:ext uri="{FF2B5EF4-FFF2-40B4-BE49-F238E27FC236}">
                <a16:creationId xmlns:a16="http://schemas.microsoft.com/office/drawing/2014/main" id="{D619BC49-E4EF-4BC0-B474-609F75846915}"/>
              </a:ext>
            </a:extLst>
          </p:cNvPr>
          <p:cNvCxnSpPr>
            <a:cxnSpLocks/>
          </p:cNvCxnSpPr>
          <p:nvPr/>
        </p:nvCxnSpPr>
        <p:spPr>
          <a:xfrm>
            <a:off x="1659750" y="1181906"/>
            <a:ext cx="997751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5" name="Titel 1">
            <a:extLst>
              <a:ext uri="{FF2B5EF4-FFF2-40B4-BE49-F238E27FC236}">
                <a16:creationId xmlns:a16="http://schemas.microsoft.com/office/drawing/2014/main" id="{ABE05CC7-87A9-4E18-AEA7-3CFE48FBF726}"/>
              </a:ext>
            </a:extLst>
          </p:cNvPr>
          <p:cNvSpPr>
            <a:spLocks noGrp="1"/>
          </p:cNvSpPr>
          <p:nvPr>
            <p:ph type="title"/>
          </p:nvPr>
        </p:nvSpPr>
        <p:spPr>
          <a:xfrm>
            <a:off x="1659750" y="372123"/>
            <a:ext cx="9977511" cy="677691"/>
          </a:xfrm>
        </p:spPr>
        <p:txBody>
          <a:bodyPr>
            <a:noAutofit/>
          </a:bodyPr>
          <a:lstStyle/>
          <a:p>
            <a:br>
              <a:rPr lang="nb-NO" sz="2800" dirty="0">
                <a:solidFill>
                  <a:srgbClr val="01509E"/>
                </a:solidFill>
              </a:rPr>
            </a:br>
            <a:r>
              <a:rPr lang="nb-NO" sz="2800" dirty="0">
                <a:solidFill>
                  <a:srgbClr val="01509E"/>
                </a:solidFill>
              </a:rPr>
              <a:t>Application</a:t>
            </a:r>
            <a:br>
              <a:rPr lang="en-US" sz="2800" dirty="0">
                <a:latin typeface="Arial" panose="020B0604020202020204" pitchFamily="34" charset="0"/>
                <a:cs typeface="Arial" panose="020B0604020202020204" pitchFamily="34" charset="0"/>
              </a:rPr>
            </a:br>
            <a:endParaRPr lang="en-US" sz="2800" b="0" dirty="0">
              <a:latin typeface="Arial" panose="020B0604020202020204" pitchFamily="34" charset="0"/>
              <a:cs typeface="Arial" panose="020B0604020202020204" pitchFamily="34" charset="0"/>
            </a:endParaRPr>
          </a:p>
        </p:txBody>
      </p:sp>
      <p:sp>
        <p:nvSpPr>
          <p:cNvPr id="7" name="Plassholder for innhold 2">
            <a:extLst>
              <a:ext uri="{FF2B5EF4-FFF2-40B4-BE49-F238E27FC236}">
                <a16:creationId xmlns:a16="http://schemas.microsoft.com/office/drawing/2014/main" id="{63991A79-2DF5-4987-8986-F8B6237BF2C9}"/>
              </a:ext>
            </a:extLst>
          </p:cNvPr>
          <p:cNvSpPr>
            <a:spLocks noGrp="1"/>
          </p:cNvSpPr>
          <p:nvPr>
            <p:ph idx="1"/>
          </p:nvPr>
        </p:nvSpPr>
        <p:spPr>
          <a:xfrm>
            <a:off x="1659748" y="1181905"/>
            <a:ext cx="10309095" cy="4884155"/>
          </a:xfrm>
        </p:spPr>
        <p:txBody>
          <a:bodyPr>
            <a:normAutofit/>
          </a:bodyPr>
          <a:lstStyle/>
          <a:p>
            <a:pPr>
              <a:lnSpc>
                <a:spcPct val="110000"/>
              </a:lnSpc>
              <a:buFont typeface="Wingdings" panose="05000000000000000000" pitchFamily="2" charset="2"/>
              <a:buChar char="§"/>
            </a:pPr>
            <a:r>
              <a:rPr lang="en-US" sz="2000" dirty="0">
                <a:latin typeface="Arial" panose="020B0604020202020204" pitchFamily="34" charset="0"/>
                <a:cs typeface="Arial" panose="020B0604020202020204" pitchFamily="34" charset="0"/>
                <a:hlinkClick r:id="rId8"/>
              </a:rPr>
              <a:t>Maritime</a:t>
            </a:r>
            <a:endParaRPr lang="en-US" sz="2000" dirty="0">
              <a:latin typeface="Arial" panose="020B0604020202020204" pitchFamily="34" charset="0"/>
              <a:cs typeface="Arial" panose="020B0604020202020204" pitchFamily="34" charset="0"/>
            </a:endParaRPr>
          </a:p>
          <a:p>
            <a:pPr lvl="1">
              <a:lnSpc>
                <a:spcPct val="110000"/>
              </a:lnSpc>
              <a:buFont typeface="Wingdings" panose="05000000000000000000" pitchFamily="2" charset="2"/>
              <a:buChar char="§"/>
            </a:pPr>
            <a:r>
              <a:rPr lang="en-GB" sz="1800" b="0" i="0" dirty="0">
                <a:solidFill>
                  <a:srgbClr val="030303"/>
                </a:solidFill>
                <a:effectLst/>
                <a:latin typeface="Roboto" panose="02000000000000000000" pitchFamily="2" charset="0"/>
              </a:rPr>
              <a:t>Drilling operations and production</a:t>
            </a:r>
          </a:p>
          <a:p>
            <a:pPr>
              <a:lnSpc>
                <a:spcPct val="110000"/>
              </a:lnSpc>
              <a:buFont typeface="Wingdings" panose="05000000000000000000" pitchFamily="2" charset="2"/>
              <a:buChar char="§"/>
            </a:pPr>
            <a:endParaRPr lang="en-US" sz="2000" dirty="0">
              <a:latin typeface="Arial" panose="020B0604020202020204" pitchFamily="34" charset="0"/>
              <a:cs typeface="Arial" panose="020B0604020202020204" pitchFamily="34" charset="0"/>
            </a:endParaRPr>
          </a:p>
          <a:p>
            <a:pPr>
              <a:lnSpc>
                <a:spcPct val="110000"/>
              </a:lnSpc>
              <a:buFont typeface="Wingdings" panose="05000000000000000000" pitchFamily="2" charset="2"/>
              <a:buChar char="§"/>
            </a:pPr>
            <a:endParaRPr lang="en-US" sz="2000" dirty="0">
              <a:latin typeface="Arial" panose="020B0604020202020204" pitchFamily="34" charset="0"/>
              <a:cs typeface="Arial" panose="020B0604020202020204" pitchFamily="34" charset="0"/>
            </a:endParaRPr>
          </a:p>
          <a:p>
            <a:pPr marL="0" indent="0">
              <a:lnSpc>
                <a:spcPct val="110000"/>
              </a:lnSpc>
              <a:buNone/>
            </a:pPr>
            <a:endParaRPr lang="en-US" sz="2000" dirty="0">
              <a:latin typeface="Arial" panose="020B0604020202020204" pitchFamily="34" charset="0"/>
              <a:cs typeface="Arial" panose="020B0604020202020204" pitchFamily="34" charset="0"/>
            </a:endParaRPr>
          </a:p>
          <a:p>
            <a:pPr>
              <a:lnSpc>
                <a:spcPct val="110000"/>
              </a:lnSpc>
              <a:buFont typeface="Wingdings" panose="05000000000000000000" pitchFamily="2" charset="2"/>
              <a:buChar char="§"/>
            </a:pPr>
            <a:endParaRPr lang="en-US" sz="1900" dirty="0">
              <a:latin typeface="Arial" panose="020B0604020202020204" pitchFamily="34" charset="0"/>
              <a:cs typeface="Arial" panose="020B0604020202020204" pitchFamily="34" charset="0"/>
            </a:endParaRPr>
          </a:p>
          <a:p>
            <a:pPr>
              <a:lnSpc>
                <a:spcPct val="110000"/>
              </a:lnSpc>
              <a:buFont typeface="Wingdings" panose="05000000000000000000" pitchFamily="2" charset="2"/>
              <a:buChar char="§"/>
            </a:pPr>
            <a:endParaRPr lang="en-US" sz="1900" dirty="0">
              <a:latin typeface="Arial" panose="020B0604020202020204" pitchFamily="34" charset="0"/>
              <a:cs typeface="Arial" panose="020B0604020202020204" pitchFamily="34" charset="0"/>
            </a:endParaRPr>
          </a:p>
          <a:p>
            <a:pPr marL="0" indent="0">
              <a:buNone/>
            </a:pPr>
            <a:endParaRPr lang="en-US" sz="1800" dirty="0"/>
          </a:p>
        </p:txBody>
      </p:sp>
      <p:pic>
        <p:nvPicPr>
          <p:cNvPr id="3" name="Online Media 2" title="4Subsea Digital Twin 2019">
            <a:hlinkClick r:id="" action="ppaction://media"/>
            <a:extLst>
              <a:ext uri="{FF2B5EF4-FFF2-40B4-BE49-F238E27FC236}">
                <a16:creationId xmlns:a16="http://schemas.microsoft.com/office/drawing/2014/main" id="{5EC236E6-7ED4-4A9E-8824-37724A27718F}"/>
              </a:ext>
            </a:extLst>
          </p:cNvPr>
          <p:cNvPicPr>
            <a:picLocks noRot="1" noChangeAspect="1"/>
          </p:cNvPicPr>
          <p:nvPr>
            <a:videoFile r:link="rId3"/>
          </p:nvPr>
        </p:nvPicPr>
        <p:blipFill>
          <a:blip r:embed="rId9"/>
          <a:stretch>
            <a:fillRect/>
          </a:stretch>
        </p:blipFill>
        <p:spPr>
          <a:xfrm>
            <a:off x="2754843" y="2059479"/>
            <a:ext cx="7699463" cy="4350197"/>
          </a:xfrm>
          <a:prstGeom prst="rect">
            <a:avLst/>
          </a:prstGeom>
        </p:spPr>
      </p:pic>
    </p:spTree>
    <p:extLst>
      <p:ext uri="{BB962C8B-B14F-4D97-AF65-F5344CB8AC3E}">
        <p14:creationId xmlns:p14="http://schemas.microsoft.com/office/powerpoint/2010/main" val="31725365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2" name="Object 41" hidden="1">
            <a:extLst>
              <a:ext uri="{FF2B5EF4-FFF2-40B4-BE49-F238E27FC236}">
                <a16:creationId xmlns:a16="http://schemas.microsoft.com/office/drawing/2014/main" id="{301463C9-2282-4A0F-819B-75374BE71C9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42" name="Object 41" hidden="1">
                        <a:extLst>
                          <a:ext uri="{FF2B5EF4-FFF2-40B4-BE49-F238E27FC236}">
                            <a16:creationId xmlns:a16="http://schemas.microsoft.com/office/drawing/2014/main" id="{301463C9-2282-4A0F-819B-75374BE71C9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6" name="Rectangle 45" hidden="1">
            <a:extLst>
              <a:ext uri="{FF2B5EF4-FFF2-40B4-BE49-F238E27FC236}">
                <a16:creationId xmlns:a16="http://schemas.microsoft.com/office/drawing/2014/main" id="{CADF9BBE-ADA6-4A36-A7C9-EC1296DE314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dirty="0">
              <a:latin typeface="Arial" panose="020B0604020202020204" pitchFamily="34" charset="0"/>
              <a:ea typeface="+mj-ea"/>
              <a:cs typeface="Arial" panose="020B0604020202020204" pitchFamily="34" charset="0"/>
              <a:sym typeface="Arial" panose="020B0604020202020204" pitchFamily="34" charset="0"/>
            </a:endParaRPr>
          </a:p>
        </p:txBody>
      </p:sp>
      <p:cxnSp>
        <p:nvCxnSpPr>
          <p:cNvPr id="43" name="Straight Connector 17">
            <a:extLst>
              <a:ext uri="{FF2B5EF4-FFF2-40B4-BE49-F238E27FC236}">
                <a16:creationId xmlns:a16="http://schemas.microsoft.com/office/drawing/2014/main" id="{D619BC49-E4EF-4BC0-B474-609F75846915}"/>
              </a:ext>
            </a:extLst>
          </p:cNvPr>
          <p:cNvCxnSpPr>
            <a:cxnSpLocks/>
          </p:cNvCxnSpPr>
          <p:nvPr/>
        </p:nvCxnSpPr>
        <p:spPr>
          <a:xfrm>
            <a:off x="1659750" y="1181906"/>
            <a:ext cx="997751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5" name="Titel 1">
            <a:extLst>
              <a:ext uri="{FF2B5EF4-FFF2-40B4-BE49-F238E27FC236}">
                <a16:creationId xmlns:a16="http://schemas.microsoft.com/office/drawing/2014/main" id="{ABE05CC7-87A9-4E18-AEA7-3CFE48FBF726}"/>
              </a:ext>
            </a:extLst>
          </p:cNvPr>
          <p:cNvSpPr>
            <a:spLocks noGrp="1"/>
          </p:cNvSpPr>
          <p:nvPr>
            <p:ph type="title"/>
          </p:nvPr>
        </p:nvSpPr>
        <p:spPr>
          <a:xfrm>
            <a:off x="1659750" y="372123"/>
            <a:ext cx="9977511" cy="677691"/>
          </a:xfrm>
        </p:spPr>
        <p:txBody>
          <a:bodyPr>
            <a:noAutofit/>
          </a:bodyPr>
          <a:lstStyle/>
          <a:p>
            <a:br>
              <a:rPr lang="nb-NO" sz="2800" dirty="0">
                <a:solidFill>
                  <a:srgbClr val="01509E"/>
                </a:solidFill>
              </a:rPr>
            </a:br>
            <a:r>
              <a:rPr lang="nb-NO" sz="2800" dirty="0">
                <a:solidFill>
                  <a:srgbClr val="01509E"/>
                </a:solidFill>
              </a:rPr>
              <a:t>Application</a:t>
            </a:r>
            <a:br>
              <a:rPr lang="en-US" sz="2800" dirty="0">
                <a:latin typeface="Arial" panose="020B0604020202020204" pitchFamily="34" charset="0"/>
                <a:cs typeface="Arial" panose="020B0604020202020204" pitchFamily="34" charset="0"/>
              </a:rPr>
            </a:br>
            <a:endParaRPr lang="en-US" sz="2800" b="0" dirty="0">
              <a:latin typeface="Arial" panose="020B0604020202020204" pitchFamily="34" charset="0"/>
              <a:cs typeface="Arial" panose="020B0604020202020204" pitchFamily="34" charset="0"/>
            </a:endParaRPr>
          </a:p>
        </p:txBody>
      </p:sp>
      <p:sp>
        <p:nvSpPr>
          <p:cNvPr id="7" name="Plassholder for innhold 2">
            <a:extLst>
              <a:ext uri="{FF2B5EF4-FFF2-40B4-BE49-F238E27FC236}">
                <a16:creationId xmlns:a16="http://schemas.microsoft.com/office/drawing/2014/main" id="{63991A79-2DF5-4987-8986-F8B6237BF2C9}"/>
              </a:ext>
            </a:extLst>
          </p:cNvPr>
          <p:cNvSpPr>
            <a:spLocks noGrp="1"/>
          </p:cNvSpPr>
          <p:nvPr>
            <p:ph idx="1"/>
          </p:nvPr>
        </p:nvSpPr>
        <p:spPr>
          <a:xfrm>
            <a:off x="1659748" y="1181905"/>
            <a:ext cx="10309095" cy="4884155"/>
          </a:xfrm>
        </p:spPr>
        <p:txBody>
          <a:bodyPr>
            <a:normAutofit/>
          </a:bodyPr>
          <a:lstStyle/>
          <a:p>
            <a:pPr>
              <a:lnSpc>
                <a:spcPct val="110000"/>
              </a:lnSpc>
              <a:buFont typeface="Wingdings" panose="05000000000000000000" pitchFamily="2" charset="2"/>
              <a:buChar char="§"/>
            </a:pPr>
            <a:r>
              <a:rPr lang="en-US" sz="2000" dirty="0">
                <a:latin typeface="Arial" panose="020B0604020202020204" pitchFamily="34" charset="0"/>
                <a:cs typeface="Arial" panose="020B0604020202020204" pitchFamily="34" charset="0"/>
                <a:hlinkClick r:id="rId7"/>
              </a:rPr>
              <a:t>Maritime</a:t>
            </a:r>
            <a:endParaRPr lang="en-US" sz="2000" dirty="0">
              <a:latin typeface="Arial" panose="020B0604020202020204" pitchFamily="34" charset="0"/>
              <a:cs typeface="Arial" panose="020B0604020202020204" pitchFamily="34" charset="0"/>
            </a:endParaRPr>
          </a:p>
          <a:p>
            <a:pPr lvl="1">
              <a:lnSpc>
                <a:spcPct val="110000"/>
              </a:lnSpc>
              <a:buFont typeface="Wingdings" panose="05000000000000000000" pitchFamily="2" charset="2"/>
              <a:buChar char="§"/>
            </a:pPr>
            <a:r>
              <a:rPr lang="en-GB" sz="1800" b="0" i="0" dirty="0">
                <a:solidFill>
                  <a:srgbClr val="030303"/>
                </a:solidFill>
                <a:effectLst/>
                <a:latin typeface="Roboto" panose="02000000000000000000" pitchFamily="2" charset="0"/>
              </a:rPr>
              <a:t>Offshore wind turbines.</a:t>
            </a:r>
          </a:p>
          <a:p>
            <a:pPr>
              <a:lnSpc>
                <a:spcPct val="110000"/>
              </a:lnSpc>
              <a:buFont typeface="Wingdings" panose="05000000000000000000" pitchFamily="2" charset="2"/>
              <a:buChar char="§"/>
            </a:pPr>
            <a:endParaRPr lang="en-US" sz="2000" dirty="0">
              <a:latin typeface="Arial" panose="020B0604020202020204" pitchFamily="34" charset="0"/>
              <a:cs typeface="Arial" panose="020B0604020202020204" pitchFamily="34" charset="0"/>
            </a:endParaRPr>
          </a:p>
          <a:p>
            <a:pPr>
              <a:lnSpc>
                <a:spcPct val="110000"/>
              </a:lnSpc>
              <a:buFont typeface="Wingdings" panose="05000000000000000000" pitchFamily="2" charset="2"/>
              <a:buChar char="§"/>
            </a:pPr>
            <a:endParaRPr lang="en-US" sz="2000" dirty="0">
              <a:latin typeface="Arial" panose="020B0604020202020204" pitchFamily="34" charset="0"/>
              <a:cs typeface="Arial" panose="020B0604020202020204" pitchFamily="34" charset="0"/>
            </a:endParaRPr>
          </a:p>
          <a:p>
            <a:pPr marL="0" indent="0">
              <a:lnSpc>
                <a:spcPct val="110000"/>
              </a:lnSpc>
              <a:buNone/>
            </a:pPr>
            <a:endParaRPr lang="en-US" sz="2000" dirty="0">
              <a:latin typeface="Arial" panose="020B0604020202020204" pitchFamily="34" charset="0"/>
              <a:cs typeface="Arial" panose="020B0604020202020204" pitchFamily="34" charset="0"/>
            </a:endParaRPr>
          </a:p>
          <a:p>
            <a:pPr>
              <a:lnSpc>
                <a:spcPct val="110000"/>
              </a:lnSpc>
              <a:buFont typeface="Wingdings" panose="05000000000000000000" pitchFamily="2" charset="2"/>
              <a:buChar char="§"/>
            </a:pPr>
            <a:endParaRPr lang="en-US" sz="1900" dirty="0">
              <a:latin typeface="Arial" panose="020B0604020202020204" pitchFamily="34" charset="0"/>
              <a:cs typeface="Arial" panose="020B0604020202020204" pitchFamily="34" charset="0"/>
            </a:endParaRPr>
          </a:p>
          <a:p>
            <a:pPr>
              <a:lnSpc>
                <a:spcPct val="110000"/>
              </a:lnSpc>
              <a:buFont typeface="Wingdings" panose="05000000000000000000" pitchFamily="2" charset="2"/>
              <a:buChar char="§"/>
            </a:pPr>
            <a:endParaRPr lang="en-US" sz="1900" dirty="0">
              <a:latin typeface="Arial" panose="020B0604020202020204" pitchFamily="34" charset="0"/>
              <a:cs typeface="Arial" panose="020B0604020202020204" pitchFamily="34" charset="0"/>
            </a:endParaRPr>
          </a:p>
          <a:p>
            <a:pPr marL="0" indent="0">
              <a:buNone/>
            </a:pPr>
            <a:endParaRPr lang="en-US" sz="1800" dirty="0"/>
          </a:p>
        </p:txBody>
      </p:sp>
      <p:pic>
        <p:nvPicPr>
          <p:cNvPr id="4" name="Picture 3">
            <a:extLst>
              <a:ext uri="{FF2B5EF4-FFF2-40B4-BE49-F238E27FC236}">
                <a16:creationId xmlns:a16="http://schemas.microsoft.com/office/drawing/2014/main" id="{B66E7767-7672-40B4-9FA3-55D6A1B06252}"/>
              </a:ext>
            </a:extLst>
          </p:cNvPr>
          <p:cNvPicPr>
            <a:picLocks noChangeAspect="1"/>
          </p:cNvPicPr>
          <p:nvPr/>
        </p:nvPicPr>
        <p:blipFill>
          <a:blip r:embed="rId8"/>
          <a:stretch>
            <a:fillRect/>
          </a:stretch>
        </p:blipFill>
        <p:spPr>
          <a:xfrm>
            <a:off x="2783029" y="2108201"/>
            <a:ext cx="7749223" cy="4508330"/>
          </a:xfrm>
          <a:prstGeom prst="rect">
            <a:avLst/>
          </a:prstGeom>
        </p:spPr>
      </p:pic>
    </p:spTree>
    <p:extLst>
      <p:ext uri="{BB962C8B-B14F-4D97-AF65-F5344CB8AC3E}">
        <p14:creationId xmlns:p14="http://schemas.microsoft.com/office/powerpoint/2010/main" val="157157443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2" name="Object 41" hidden="1">
            <a:extLst>
              <a:ext uri="{FF2B5EF4-FFF2-40B4-BE49-F238E27FC236}">
                <a16:creationId xmlns:a16="http://schemas.microsoft.com/office/drawing/2014/main" id="{301463C9-2282-4A0F-819B-75374BE71C9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6" progId="TCLayout.ActiveDocument.1">
                  <p:embed/>
                </p:oleObj>
              </mc:Choice>
              <mc:Fallback>
                <p:oleObj name="think-cell Slide" r:id="rId6" imgW="395" imgH="396" progId="TCLayout.ActiveDocument.1">
                  <p:embed/>
                  <p:pic>
                    <p:nvPicPr>
                      <p:cNvPr id="42" name="Object 41" hidden="1">
                        <a:extLst>
                          <a:ext uri="{FF2B5EF4-FFF2-40B4-BE49-F238E27FC236}">
                            <a16:creationId xmlns:a16="http://schemas.microsoft.com/office/drawing/2014/main" id="{301463C9-2282-4A0F-819B-75374BE71C9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6" name="Rectangle 45" hidden="1">
            <a:extLst>
              <a:ext uri="{FF2B5EF4-FFF2-40B4-BE49-F238E27FC236}">
                <a16:creationId xmlns:a16="http://schemas.microsoft.com/office/drawing/2014/main" id="{CADF9BBE-ADA6-4A36-A7C9-EC1296DE314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dirty="0">
              <a:latin typeface="Arial" panose="020B0604020202020204" pitchFamily="34" charset="0"/>
              <a:ea typeface="+mj-ea"/>
              <a:cs typeface="Arial" panose="020B0604020202020204" pitchFamily="34" charset="0"/>
              <a:sym typeface="Arial" panose="020B0604020202020204" pitchFamily="34" charset="0"/>
            </a:endParaRPr>
          </a:p>
        </p:txBody>
      </p:sp>
      <p:cxnSp>
        <p:nvCxnSpPr>
          <p:cNvPr id="43" name="Straight Connector 17">
            <a:extLst>
              <a:ext uri="{FF2B5EF4-FFF2-40B4-BE49-F238E27FC236}">
                <a16:creationId xmlns:a16="http://schemas.microsoft.com/office/drawing/2014/main" id="{D619BC49-E4EF-4BC0-B474-609F75846915}"/>
              </a:ext>
            </a:extLst>
          </p:cNvPr>
          <p:cNvCxnSpPr>
            <a:cxnSpLocks/>
          </p:cNvCxnSpPr>
          <p:nvPr/>
        </p:nvCxnSpPr>
        <p:spPr>
          <a:xfrm>
            <a:off x="1659750" y="1181906"/>
            <a:ext cx="997751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5" name="Titel 1">
            <a:extLst>
              <a:ext uri="{FF2B5EF4-FFF2-40B4-BE49-F238E27FC236}">
                <a16:creationId xmlns:a16="http://schemas.microsoft.com/office/drawing/2014/main" id="{ABE05CC7-87A9-4E18-AEA7-3CFE48FBF726}"/>
              </a:ext>
            </a:extLst>
          </p:cNvPr>
          <p:cNvSpPr>
            <a:spLocks noGrp="1"/>
          </p:cNvSpPr>
          <p:nvPr>
            <p:ph type="title"/>
          </p:nvPr>
        </p:nvSpPr>
        <p:spPr>
          <a:xfrm>
            <a:off x="1659750" y="372123"/>
            <a:ext cx="9977511" cy="677691"/>
          </a:xfrm>
        </p:spPr>
        <p:txBody>
          <a:bodyPr>
            <a:noAutofit/>
          </a:bodyPr>
          <a:lstStyle/>
          <a:p>
            <a:br>
              <a:rPr lang="nb-NO" sz="2800" dirty="0">
                <a:solidFill>
                  <a:srgbClr val="01509E"/>
                </a:solidFill>
              </a:rPr>
            </a:br>
            <a:r>
              <a:rPr lang="nb-NO" sz="2800" dirty="0">
                <a:solidFill>
                  <a:srgbClr val="01509E"/>
                </a:solidFill>
              </a:rPr>
              <a:t>Application</a:t>
            </a:r>
            <a:br>
              <a:rPr lang="en-US" sz="2800" dirty="0">
                <a:latin typeface="Arial" panose="020B0604020202020204" pitchFamily="34" charset="0"/>
                <a:cs typeface="Arial" panose="020B0604020202020204" pitchFamily="34" charset="0"/>
              </a:rPr>
            </a:br>
            <a:endParaRPr lang="en-US" sz="2800" b="0" dirty="0">
              <a:latin typeface="Arial" panose="020B0604020202020204" pitchFamily="34" charset="0"/>
              <a:cs typeface="Arial" panose="020B0604020202020204" pitchFamily="34" charset="0"/>
            </a:endParaRPr>
          </a:p>
        </p:txBody>
      </p:sp>
      <p:sp>
        <p:nvSpPr>
          <p:cNvPr id="7" name="Plassholder for innhold 2">
            <a:extLst>
              <a:ext uri="{FF2B5EF4-FFF2-40B4-BE49-F238E27FC236}">
                <a16:creationId xmlns:a16="http://schemas.microsoft.com/office/drawing/2014/main" id="{63991A79-2DF5-4987-8986-F8B6237BF2C9}"/>
              </a:ext>
            </a:extLst>
          </p:cNvPr>
          <p:cNvSpPr>
            <a:spLocks noGrp="1"/>
          </p:cNvSpPr>
          <p:nvPr>
            <p:ph idx="1"/>
          </p:nvPr>
        </p:nvSpPr>
        <p:spPr>
          <a:xfrm>
            <a:off x="1659748" y="1181905"/>
            <a:ext cx="10309095" cy="4884155"/>
          </a:xfrm>
        </p:spPr>
        <p:txBody>
          <a:bodyPr>
            <a:normAutofit/>
          </a:bodyPr>
          <a:lstStyle/>
          <a:p>
            <a:pPr>
              <a:lnSpc>
                <a:spcPct val="110000"/>
              </a:lnSpc>
              <a:buFont typeface="Wingdings" panose="05000000000000000000" pitchFamily="2" charset="2"/>
              <a:buChar char="§"/>
            </a:pPr>
            <a:r>
              <a:rPr lang="en-US" sz="2000" dirty="0">
                <a:latin typeface="Arial" panose="020B0604020202020204" pitchFamily="34" charset="0"/>
                <a:cs typeface="Arial" panose="020B0604020202020204" pitchFamily="34" charset="0"/>
                <a:hlinkClick r:id="rId8"/>
              </a:rPr>
              <a:t>Maritime</a:t>
            </a:r>
            <a:endParaRPr lang="en-US" sz="2000" dirty="0">
              <a:latin typeface="Arial" panose="020B0604020202020204" pitchFamily="34" charset="0"/>
              <a:cs typeface="Arial" panose="020B0604020202020204" pitchFamily="34" charset="0"/>
            </a:endParaRPr>
          </a:p>
          <a:p>
            <a:pPr lvl="1">
              <a:lnSpc>
                <a:spcPct val="110000"/>
              </a:lnSpc>
              <a:buFont typeface="Wingdings" panose="05000000000000000000" pitchFamily="2" charset="2"/>
              <a:buChar char="§"/>
            </a:pPr>
            <a:r>
              <a:rPr lang="en-GB" sz="1800" b="0" i="0" dirty="0">
                <a:solidFill>
                  <a:srgbClr val="030303"/>
                </a:solidFill>
                <a:effectLst/>
                <a:latin typeface="Roboto" panose="02000000000000000000" pitchFamily="2" charset="0"/>
              </a:rPr>
              <a:t>Vessel navigation and control</a:t>
            </a:r>
          </a:p>
          <a:p>
            <a:pPr>
              <a:lnSpc>
                <a:spcPct val="110000"/>
              </a:lnSpc>
              <a:buFont typeface="Wingdings" panose="05000000000000000000" pitchFamily="2" charset="2"/>
              <a:buChar char="§"/>
            </a:pPr>
            <a:endParaRPr lang="en-US" sz="2000" dirty="0">
              <a:latin typeface="Arial" panose="020B0604020202020204" pitchFamily="34" charset="0"/>
              <a:cs typeface="Arial" panose="020B0604020202020204" pitchFamily="34" charset="0"/>
            </a:endParaRPr>
          </a:p>
          <a:p>
            <a:pPr>
              <a:lnSpc>
                <a:spcPct val="110000"/>
              </a:lnSpc>
              <a:buFont typeface="Wingdings" panose="05000000000000000000" pitchFamily="2" charset="2"/>
              <a:buChar char="§"/>
            </a:pPr>
            <a:endParaRPr lang="en-US" sz="2000" dirty="0">
              <a:latin typeface="Arial" panose="020B0604020202020204" pitchFamily="34" charset="0"/>
              <a:cs typeface="Arial" panose="020B0604020202020204" pitchFamily="34" charset="0"/>
            </a:endParaRPr>
          </a:p>
          <a:p>
            <a:pPr marL="0" indent="0">
              <a:lnSpc>
                <a:spcPct val="110000"/>
              </a:lnSpc>
              <a:buNone/>
            </a:pPr>
            <a:endParaRPr lang="en-US" sz="2000" dirty="0">
              <a:latin typeface="Arial" panose="020B0604020202020204" pitchFamily="34" charset="0"/>
              <a:cs typeface="Arial" panose="020B0604020202020204" pitchFamily="34" charset="0"/>
            </a:endParaRPr>
          </a:p>
          <a:p>
            <a:pPr>
              <a:lnSpc>
                <a:spcPct val="110000"/>
              </a:lnSpc>
              <a:buFont typeface="Wingdings" panose="05000000000000000000" pitchFamily="2" charset="2"/>
              <a:buChar char="§"/>
            </a:pPr>
            <a:endParaRPr lang="en-US" sz="1900" dirty="0">
              <a:latin typeface="Arial" panose="020B0604020202020204" pitchFamily="34" charset="0"/>
              <a:cs typeface="Arial" panose="020B0604020202020204" pitchFamily="34" charset="0"/>
            </a:endParaRPr>
          </a:p>
          <a:p>
            <a:pPr>
              <a:lnSpc>
                <a:spcPct val="110000"/>
              </a:lnSpc>
              <a:buFont typeface="Wingdings" panose="05000000000000000000" pitchFamily="2" charset="2"/>
              <a:buChar char="§"/>
            </a:pPr>
            <a:endParaRPr lang="en-US" sz="1900" dirty="0">
              <a:latin typeface="Arial" panose="020B0604020202020204" pitchFamily="34" charset="0"/>
              <a:cs typeface="Arial" panose="020B0604020202020204" pitchFamily="34" charset="0"/>
            </a:endParaRPr>
          </a:p>
          <a:p>
            <a:pPr marL="0" indent="0">
              <a:buNone/>
            </a:pPr>
            <a:endParaRPr lang="en-US" sz="1800" dirty="0"/>
          </a:p>
        </p:txBody>
      </p:sp>
      <p:pic>
        <p:nvPicPr>
          <p:cNvPr id="8" name="Online Media 3" title="NTNU Digital Twin Technology">
            <a:hlinkClick r:id="" action="ppaction://media"/>
            <a:extLst>
              <a:ext uri="{FF2B5EF4-FFF2-40B4-BE49-F238E27FC236}">
                <a16:creationId xmlns:a16="http://schemas.microsoft.com/office/drawing/2014/main" id="{782E286D-48F1-488F-90E9-1E0170F68AE1}"/>
              </a:ext>
            </a:extLst>
          </p:cNvPr>
          <p:cNvPicPr>
            <a:picLocks noRot="1" noChangeAspect="1"/>
          </p:cNvPicPr>
          <p:nvPr>
            <a:videoFile r:link="rId3"/>
          </p:nvPr>
        </p:nvPicPr>
        <p:blipFill>
          <a:blip r:embed="rId9"/>
          <a:stretch>
            <a:fillRect/>
          </a:stretch>
        </p:blipFill>
        <p:spPr>
          <a:xfrm>
            <a:off x="2791570" y="1959914"/>
            <a:ext cx="8045450" cy="4525963"/>
          </a:xfrm>
          <a:prstGeom prst="rect">
            <a:avLst/>
          </a:prstGeom>
        </p:spPr>
      </p:pic>
      <p:sp>
        <p:nvSpPr>
          <p:cNvPr id="9" name="TextBox 8">
            <a:extLst>
              <a:ext uri="{FF2B5EF4-FFF2-40B4-BE49-F238E27FC236}">
                <a16:creationId xmlns:a16="http://schemas.microsoft.com/office/drawing/2014/main" id="{8B1A1B4A-8CEA-40FA-8FB9-0BF23C69889E}"/>
              </a:ext>
            </a:extLst>
          </p:cNvPr>
          <p:cNvSpPr txBox="1"/>
          <p:nvPr/>
        </p:nvSpPr>
        <p:spPr>
          <a:xfrm>
            <a:off x="5370729" y="6478466"/>
            <a:ext cx="5648638" cy="338554"/>
          </a:xfrm>
          <a:prstGeom prst="rect">
            <a:avLst/>
          </a:prstGeom>
          <a:noFill/>
        </p:spPr>
        <p:txBody>
          <a:bodyPr wrap="square" rtlCol="0">
            <a:spAutoFit/>
          </a:bodyPr>
          <a:lstStyle/>
          <a:p>
            <a:r>
              <a:rPr lang="en-US" altLang="zh-CN" sz="1600" dirty="0"/>
              <a:t>NTNU digital twin technology</a:t>
            </a:r>
            <a:r>
              <a:rPr lang="en-US" sz="1600" dirty="0"/>
              <a:t>.</a:t>
            </a:r>
          </a:p>
        </p:txBody>
      </p:sp>
    </p:spTree>
    <p:extLst>
      <p:ext uri="{BB962C8B-B14F-4D97-AF65-F5344CB8AC3E}">
        <p14:creationId xmlns:p14="http://schemas.microsoft.com/office/powerpoint/2010/main" val="19794302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8"/>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8"/>
                                        </p:tgtEl>
                                      </p:cBhvr>
                                    </p:cmd>
                                  </p:childTnLst>
                                </p:cTn>
                              </p:par>
                            </p:childTnLst>
                          </p:cTn>
                        </p:par>
                      </p:childTnLst>
                    </p:cTn>
                  </p:par>
                </p:childTnLst>
              </p:cTn>
              <p:nextCondLst>
                <p:cond evt="onClick" delay="0">
                  <p:tgtEl>
                    <p:spTgt spid="8"/>
                  </p:tgtEl>
                </p:cond>
              </p:nextCondLst>
            </p:seq>
            <p:video>
              <p:cMediaNode vol="80000">
                <p:cTn id="12" fill="hold" display="0">
                  <p:stCondLst>
                    <p:cond delay="indefinite"/>
                  </p:stCondLst>
                </p:cTn>
                <p:tgtEl>
                  <p:spTgt spid="8"/>
                </p:tgtEl>
              </p:cMediaNode>
            </p:video>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2" name="Object 41" hidden="1">
            <a:extLst>
              <a:ext uri="{FF2B5EF4-FFF2-40B4-BE49-F238E27FC236}">
                <a16:creationId xmlns:a16="http://schemas.microsoft.com/office/drawing/2014/main" id="{301463C9-2282-4A0F-819B-75374BE71C9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42" name="Object 41" hidden="1">
                        <a:extLst>
                          <a:ext uri="{FF2B5EF4-FFF2-40B4-BE49-F238E27FC236}">
                            <a16:creationId xmlns:a16="http://schemas.microsoft.com/office/drawing/2014/main" id="{301463C9-2282-4A0F-819B-75374BE71C9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6" name="Rectangle 45" hidden="1">
            <a:extLst>
              <a:ext uri="{FF2B5EF4-FFF2-40B4-BE49-F238E27FC236}">
                <a16:creationId xmlns:a16="http://schemas.microsoft.com/office/drawing/2014/main" id="{CADF9BBE-ADA6-4A36-A7C9-EC1296DE314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dirty="0">
              <a:latin typeface="Arial" panose="020B0604020202020204" pitchFamily="34" charset="0"/>
              <a:ea typeface="+mj-ea"/>
              <a:cs typeface="Arial" panose="020B0604020202020204" pitchFamily="34" charset="0"/>
              <a:sym typeface="Arial" panose="020B0604020202020204" pitchFamily="34" charset="0"/>
            </a:endParaRPr>
          </a:p>
        </p:txBody>
      </p:sp>
      <p:cxnSp>
        <p:nvCxnSpPr>
          <p:cNvPr id="43" name="Straight Connector 17">
            <a:extLst>
              <a:ext uri="{FF2B5EF4-FFF2-40B4-BE49-F238E27FC236}">
                <a16:creationId xmlns:a16="http://schemas.microsoft.com/office/drawing/2014/main" id="{D619BC49-E4EF-4BC0-B474-609F75846915}"/>
              </a:ext>
            </a:extLst>
          </p:cNvPr>
          <p:cNvCxnSpPr>
            <a:cxnSpLocks/>
          </p:cNvCxnSpPr>
          <p:nvPr/>
        </p:nvCxnSpPr>
        <p:spPr>
          <a:xfrm>
            <a:off x="1659750" y="1181906"/>
            <a:ext cx="997751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5" name="Titel 1">
            <a:extLst>
              <a:ext uri="{FF2B5EF4-FFF2-40B4-BE49-F238E27FC236}">
                <a16:creationId xmlns:a16="http://schemas.microsoft.com/office/drawing/2014/main" id="{ABE05CC7-87A9-4E18-AEA7-3CFE48FBF726}"/>
              </a:ext>
            </a:extLst>
          </p:cNvPr>
          <p:cNvSpPr>
            <a:spLocks noGrp="1"/>
          </p:cNvSpPr>
          <p:nvPr>
            <p:ph type="title"/>
          </p:nvPr>
        </p:nvSpPr>
        <p:spPr>
          <a:xfrm>
            <a:off x="1659750" y="372123"/>
            <a:ext cx="9977511" cy="677691"/>
          </a:xfrm>
        </p:spPr>
        <p:txBody>
          <a:bodyPr>
            <a:noAutofit/>
          </a:bodyPr>
          <a:lstStyle/>
          <a:p>
            <a:r>
              <a:rPr lang="en-US" sz="3200" b="1" dirty="0">
                <a:solidFill>
                  <a:srgbClr val="01509E"/>
                </a:solidFill>
                <a:latin typeface="Arial" panose="020B0604020202020204" pitchFamily="34" charset="0"/>
                <a:cs typeface="Arial" panose="020B0604020202020204" pitchFamily="34" charset="0"/>
              </a:rPr>
              <a:t>Outline</a:t>
            </a:r>
            <a:endParaRPr lang="en-US" sz="2400" b="0" dirty="0">
              <a:latin typeface="Arial" panose="020B0604020202020204" pitchFamily="34" charset="0"/>
              <a:cs typeface="Arial" panose="020B0604020202020204" pitchFamily="34" charset="0"/>
            </a:endParaRPr>
          </a:p>
        </p:txBody>
      </p:sp>
      <p:sp>
        <p:nvSpPr>
          <p:cNvPr id="7" name="Plassholder for innhold 2">
            <a:extLst>
              <a:ext uri="{FF2B5EF4-FFF2-40B4-BE49-F238E27FC236}">
                <a16:creationId xmlns:a16="http://schemas.microsoft.com/office/drawing/2014/main" id="{63991A79-2DF5-4987-8986-F8B6237BF2C9}"/>
              </a:ext>
            </a:extLst>
          </p:cNvPr>
          <p:cNvSpPr>
            <a:spLocks noGrp="1"/>
          </p:cNvSpPr>
          <p:nvPr>
            <p:ph idx="1"/>
          </p:nvPr>
        </p:nvSpPr>
        <p:spPr>
          <a:xfrm>
            <a:off x="1659748" y="1181905"/>
            <a:ext cx="10224469" cy="5142694"/>
          </a:xfrm>
        </p:spPr>
        <p:txBody>
          <a:bodyPr>
            <a:normAutofit fontScale="92500" lnSpcReduction="20000"/>
          </a:bodyPr>
          <a:lstStyle/>
          <a:p>
            <a:pPr>
              <a:lnSpc>
                <a:spcPct val="150000"/>
              </a:lnSpc>
              <a:buFont typeface="Wingdings" panose="05000000000000000000" pitchFamily="2" charset="2"/>
              <a:buChar char="§"/>
            </a:pPr>
            <a:r>
              <a:rPr lang="en-US" sz="2000" dirty="0">
                <a:latin typeface="Arial" panose="020B0604020202020204" pitchFamily="34" charset="0"/>
                <a:cs typeface="Arial" panose="020B0604020202020204" pitchFamily="34" charset="0"/>
              </a:rPr>
              <a:t>Day 1: </a:t>
            </a:r>
          </a:p>
          <a:p>
            <a:pPr lvl="1">
              <a:lnSpc>
                <a:spcPct val="150000"/>
              </a:lnSpc>
              <a:buFont typeface="Wingdings" panose="05000000000000000000" pitchFamily="2" charset="2"/>
              <a:buChar char="§"/>
            </a:pPr>
            <a:r>
              <a:rPr lang="en-US" sz="1467" dirty="0">
                <a:latin typeface="Arial" panose="020B0604020202020204" pitchFamily="34" charset="0"/>
                <a:cs typeface="Arial" panose="020B0604020202020204" pitchFamily="34" charset="0"/>
              </a:rPr>
              <a:t>Digital twin (DT) concept and function</a:t>
            </a:r>
          </a:p>
          <a:p>
            <a:pPr lvl="1">
              <a:lnSpc>
                <a:spcPct val="150000"/>
              </a:lnSpc>
              <a:buFont typeface="Wingdings" panose="05000000000000000000" pitchFamily="2" charset="2"/>
              <a:buChar char="§"/>
            </a:pPr>
            <a:r>
              <a:rPr lang="en-US" sz="1467" dirty="0">
                <a:latin typeface="Arial" panose="020B0604020202020204" pitchFamily="34" charset="0"/>
                <a:cs typeface="Arial" panose="020B0604020202020204" pitchFamily="34" charset="0"/>
              </a:rPr>
              <a:t>DT systems in NTNU </a:t>
            </a:r>
            <a:r>
              <a:rPr lang="nb-NO" sz="1467" dirty="0">
                <a:latin typeface="Arial" panose="020B0604020202020204" pitchFamily="34" charset="0"/>
                <a:cs typeface="Arial" panose="020B0604020202020204" pitchFamily="34" charset="0"/>
              </a:rPr>
              <a:t>Ålesund</a:t>
            </a:r>
            <a:endParaRPr lang="en-US" sz="1467" dirty="0">
              <a:latin typeface="Arial" panose="020B0604020202020204" pitchFamily="34" charset="0"/>
              <a:cs typeface="Arial" panose="020B0604020202020204" pitchFamily="34" charset="0"/>
            </a:endParaRPr>
          </a:p>
          <a:p>
            <a:pPr>
              <a:lnSpc>
                <a:spcPct val="150000"/>
              </a:lnSpc>
              <a:buFont typeface="Wingdings" panose="05000000000000000000" pitchFamily="2" charset="2"/>
              <a:buChar char="§"/>
            </a:pPr>
            <a:r>
              <a:rPr lang="en-US" sz="2000" dirty="0">
                <a:latin typeface="Arial" panose="020B0604020202020204" pitchFamily="34" charset="0"/>
                <a:cs typeface="Arial" panose="020B0604020202020204" pitchFamily="34" charset="0"/>
              </a:rPr>
              <a:t>Day 2: </a:t>
            </a:r>
          </a:p>
          <a:p>
            <a:pPr lvl="1">
              <a:lnSpc>
                <a:spcPct val="150000"/>
              </a:lnSpc>
              <a:buFont typeface="Wingdings" panose="05000000000000000000" pitchFamily="2" charset="2"/>
              <a:buChar char="§"/>
            </a:pPr>
            <a:r>
              <a:rPr lang="en-US" sz="1467" dirty="0">
                <a:latin typeface="Arial" panose="020B0604020202020204" pitchFamily="34" charset="0"/>
                <a:cs typeface="Arial" panose="020B0604020202020204" pitchFamily="34" charset="0"/>
              </a:rPr>
              <a:t>Co</a:t>
            </a:r>
            <a:r>
              <a:rPr lang="en-GB" sz="1467" dirty="0">
                <a:latin typeface="Arial" panose="020B0604020202020204" pitchFamily="34" charset="0"/>
                <a:cs typeface="Arial" panose="020B0604020202020204" pitchFamily="34" charset="0"/>
              </a:rPr>
              <a:t>-</a:t>
            </a:r>
            <a:r>
              <a:rPr lang="en-US" sz="1467" dirty="0">
                <a:latin typeface="Arial" panose="020B0604020202020204" pitchFamily="34" charset="0"/>
                <a:cs typeface="Arial" panose="020B0604020202020204" pitchFamily="34" charset="0"/>
              </a:rPr>
              <a:t>simulation: the fundamental of DT.</a:t>
            </a:r>
          </a:p>
          <a:p>
            <a:pPr lvl="1">
              <a:lnSpc>
                <a:spcPct val="150000"/>
              </a:lnSpc>
              <a:buFont typeface="Wingdings" panose="05000000000000000000" pitchFamily="2" charset="2"/>
              <a:buChar char="§"/>
            </a:pPr>
            <a:r>
              <a:rPr lang="en-US" sz="1467" dirty="0">
                <a:latin typeface="Arial" panose="020B0604020202020204" pitchFamily="34" charset="0"/>
                <a:cs typeface="Arial" panose="020B0604020202020204" pitchFamily="34" charset="0"/>
              </a:rPr>
              <a:t>Co-simulation platform in NTNU </a:t>
            </a:r>
            <a:r>
              <a:rPr lang="nb-NO" sz="1467" dirty="0">
                <a:latin typeface="Arial" panose="020B0604020202020204" pitchFamily="34" charset="0"/>
                <a:cs typeface="Arial" panose="020B0604020202020204" pitchFamily="34" charset="0"/>
              </a:rPr>
              <a:t>Ålesund</a:t>
            </a:r>
            <a:endParaRPr lang="en-US" sz="1467" dirty="0">
              <a:latin typeface="Arial" panose="020B0604020202020204" pitchFamily="34" charset="0"/>
              <a:cs typeface="Arial" panose="020B0604020202020204" pitchFamily="34" charset="0"/>
            </a:endParaRPr>
          </a:p>
          <a:p>
            <a:pPr>
              <a:lnSpc>
                <a:spcPct val="150000"/>
              </a:lnSpc>
              <a:buFont typeface="Wingdings" panose="05000000000000000000" pitchFamily="2" charset="2"/>
              <a:buChar char="§"/>
            </a:pPr>
            <a:r>
              <a:rPr lang="en-US" sz="2000" dirty="0">
                <a:latin typeface="Arial" panose="020B0604020202020204" pitchFamily="34" charset="0"/>
                <a:cs typeface="Arial" panose="020B0604020202020204" pitchFamily="34" charset="0"/>
              </a:rPr>
              <a:t>Day 3: </a:t>
            </a:r>
          </a:p>
          <a:p>
            <a:pPr lvl="1">
              <a:lnSpc>
                <a:spcPct val="150000"/>
              </a:lnSpc>
              <a:buFont typeface="Wingdings" panose="05000000000000000000" pitchFamily="2" charset="2"/>
              <a:buChar char="§"/>
            </a:pPr>
            <a:r>
              <a:rPr lang="en-US" sz="1467" dirty="0">
                <a:latin typeface="Arial" panose="020B0604020202020204" pitchFamily="34" charset="0"/>
                <a:cs typeface="Arial" panose="020B0604020202020204" pitchFamily="34" charset="0"/>
              </a:rPr>
              <a:t>Co-simulation of marine system</a:t>
            </a:r>
          </a:p>
          <a:p>
            <a:pPr lvl="1">
              <a:lnSpc>
                <a:spcPct val="150000"/>
              </a:lnSpc>
              <a:buFont typeface="Wingdings" panose="05000000000000000000" pitchFamily="2" charset="2"/>
              <a:buChar char="§"/>
            </a:pPr>
            <a:r>
              <a:rPr lang="en-US" sz="1467" dirty="0">
                <a:latin typeface="Arial" panose="020B0604020202020204" pitchFamily="34" charset="0"/>
                <a:cs typeface="Arial" panose="020B0604020202020204" pitchFamily="34" charset="0"/>
              </a:rPr>
              <a:t>Examples of a research vessel. </a:t>
            </a:r>
          </a:p>
          <a:p>
            <a:pPr>
              <a:lnSpc>
                <a:spcPct val="150000"/>
              </a:lnSpc>
              <a:buFont typeface="Wingdings" panose="05000000000000000000" pitchFamily="2" charset="2"/>
              <a:buChar char="§"/>
            </a:pPr>
            <a:r>
              <a:rPr lang="en-US" sz="2000" dirty="0">
                <a:latin typeface="Arial" panose="020B0604020202020204" pitchFamily="34" charset="0"/>
                <a:cs typeface="Arial" panose="020B0604020202020204" pitchFamily="34" charset="0"/>
              </a:rPr>
              <a:t>Day 4: </a:t>
            </a:r>
          </a:p>
          <a:p>
            <a:pPr lvl="1">
              <a:lnSpc>
                <a:spcPct val="150000"/>
              </a:lnSpc>
              <a:buFont typeface="Wingdings" panose="05000000000000000000" pitchFamily="2" charset="2"/>
              <a:buChar char="§"/>
            </a:pPr>
            <a:r>
              <a:rPr lang="en-US" sz="1467" dirty="0">
                <a:latin typeface="Arial" panose="020B0604020202020204" pitchFamily="34" charset="0"/>
                <a:cs typeface="Arial" panose="020B0604020202020204" pitchFamily="34" charset="0"/>
              </a:rPr>
              <a:t>Ship motion prediction introduction</a:t>
            </a:r>
          </a:p>
          <a:p>
            <a:pPr lvl="1">
              <a:lnSpc>
                <a:spcPct val="150000"/>
              </a:lnSpc>
              <a:buFont typeface="Wingdings" panose="05000000000000000000" pitchFamily="2" charset="2"/>
              <a:buChar char="§"/>
            </a:pPr>
            <a:r>
              <a:rPr lang="en-US" sz="1467" dirty="0">
                <a:latin typeface="Arial" panose="020B0604020202020204" pitchFamily="34" charset="0"/>
                <a:cs typeface="Arial" panose="020B0604020202020204" pitchFamily="34" charset="0"/>
              </a:rPr>
              <a:t>Ship motion prediction in co-simulation</a:t>
            </a:r>
          </a:p>
          <a:p>
            <a:pPr>
              <a:lnSpc>
                <a:spcPct val="150000"/>
              </a:lnSpc>
              <a:buFont typeface="Wingdings" panose="05000000000000000000" pitchFamily="2" charset="2"/>
              <a:buChar char="§"/>
            </a:pPr>
            <a:r>
              <a:rPr lang="en-US" sz="2000" dirty="0">
                <a:latin typeface="Arial" panose="020B0604020202020204" pitchFamily="34" charset="0"/>
                <a:cs typeface="Arial" panose="020B0604020202020204" pitchFamily="34" charset="0"/>
              </a:rPr>
              <a:t>Day 5: </a:t>
            </a:r>
          </a:p>
          <a:p>
            <a:pPr lvl="1">
              <a:lnSpc>
                <a:spcPct val="150000"/>
              </a:lnSpc>
              <a:buFont typeface="Wingdings" panose="05000000000000000000" pitchFamily="2" charset="2"/>
              <a:buChar char="§"/>
            </a:pPr>
            <a:r>
              <a:rPr lang="en-US" sz="1467" dirty="0">
                <a:latin typeface="Arial" panose="020B0604020202020204" pitchFamily="34" charset="0"/>
                <a:cs typeface="Arial" panose="020B0604020202020204" pitchFamily="34" charset="0"/>
              </a:rPr>
              <a:t>Summary and final project</a:t>
            </a:r>
          </a:p>
        </p:txBody>
      </p:sp>
      <p:pic>
        <p:nvPicPr>
          <p:cNvPr id="24" name="Picture 6" descr="Acceleration of digitalization - DNV">
            <a:extLst>
              <a:ext uri="{FF2B5EF4-FFF2-40B4-BE49-F238E27FC236}">
                <a16:creationId xmlns:a16="http://schemas.microsoft.com/office/drawing/2014/main" id="{A471EE76-3593-4B3C-AC22-2FFE3A44882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648503" y="2148615"/>
            <a:ext cx="5235714" cy="294508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887902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2" name="Object 41" hidden="1">
            <a:extLst>
              <a:ext uri="{FF2B5EF4-FFF2-40B4-BE49-F238E27FC236}">
                <a16:creationId xmlns:a16="http://schemas.microsoft.com/office/drawing/2014/main" id="{301463C9-2282-4A0F-819B-75374BE71C9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6" progId="TCLayout.ActiveDocument.1">
                  <p:embed/>
                </p:oleObj>
              </mc:Choice>
              <mc:Fallback>
                <p:oleObj name="think-cell Slide" r:id="rId6" imgW="395" imgH="396" progId="TCLayout.ActiveDocument.1">
                  <p:embed/>
                  <p:pic>
                    <p:nvPicPr>
                      <p:cNvPr id="42" name="Object 41" hidden="1">
                        <a:extLst>
                          <a:ext uri="{FF2B5EF4-FFF2-40B4-BE49-F238E27FC236}">
                            <a16:creationId xmlns:a16="http://schemas.microsoft.com/office/drawing/2014/main" id="{301463C9-2282-4A0F-819B-75374BE71C9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6" name="Rectangle 45" hidden="1">
            <a:extLst>
              <a:ext uri="{FF2B5EF4-FFF2-40B4-BE49-F238E27FC236}">
                <a16:creationId xmlns:a16="http://schemas.microsoft.com/office/drawing/2014/main" id="{CADF9BBE-ADA6-4A36-A7C9-EC1296DE314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dirty="0">
              <a:latin typeface="Arial" panose="020B0604020202020204" pitchFamily="34" charset="0"/>
              <a:ea typeface="+mj-ea"/>
              <a:cs typeface="Arial" panose="020B0604020202020204" pitchFamily="34" charset="0"/>
              <a:sym typeface="Arial" panose="020B0604020202020204" pitchFamily="34" charset="0"/>
            </a:endParaRPr>
          </a:p>
        </p:txBody>
      </p:sp>
      <p:cxnSp>
        <p:nvCxnSpPr>
          <p:cNvPr id="43" name="Straight Connector 17">
            <a:extLst>
              <a:ext uri="{FF2B5EF4-FFF2-40B4-BE49-F238E27FC236}">
                <a16:creationId xmlns:a16="http://schemas.microsoft.com/office/drawing/2014/main" id="{D619BC49-E4EF-4BC0-B474-609F75846915}"/>
              </a:ext>
            </a:extLst>
          </p:cNvPr>
          <p:cNvCxnSpPr>
            <a:cxnSpLocks/>
          </p:cNvCxnSpPr>
          <p:nvPr/>
        </p:nvCxnSpPr>
        <p:spPr>
          <a:xfrm>
            <a:off x="1659750" y="1181906"/>
            <a:ext cx="997751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5" name="Titel 1">
            <a:extLst>
              <a:ext uri="{FF2B5EF4-FFF2-40B4-BE49-F238E27FC236}">
                <a16:creationId xmlns:a16="http://schemas.microsoft.com/office/drawing/2014/main" id="{ABE05CC7-87A9-4E18-AEA7-3CFE48FBF726}"/>
              </a:ext>
            </a:extLst>
          </p:cNvPr>
          <p:cNvSpPr>
            <a:spLocks noGrp="1"/>
          </p:cNvSpPr>
          <p:nvPr>
            <p:ph type="title"/>
          </p:nvPr>
        </p:nvSpPr>
        <p:spPr>
          <a:xfrm>
            <a:off x="1659750" y="372123"/>
            <a:ext cx="9977511" cy="677691"/>
          </a:xfrm>
        </p:spPr>
        <p:txBody>
          <a:bodyPr>
            <a:noAutofit/>
          </a:bodyPr>
          <a:lstStyle/>
          <a:p>
            <a:br>
              <a:rPr lang="nb-NO" sz="2800" dirty="0">
                <a:solidFill>
                  <a:srgbClr val="01509E"/>
                </a:solidFill>
              </a:rPr>
            </a:br>
            <a:r>
              <a:rPr lang="nb-NO" sz="2800" dirty="0">
                <a:solidFill>
                  <a:srgbClr val="01509E"/>
                </a:solidFill>
              </a:rPr>
              <a:t>Application</a:t>
            </a:r>
            <a:br>
              <a:rPr lang="en-US" sz="2800" dirty="0">
                <a:latin typeface="Arial" panose="020B0604020202020204" pitchFamily="34" charset="0"/>
                <a:cs typeface="Arial" panose="020B0604020202020204" pitchFamily="34" charset="0"/>
              </a:rPr>
            </a:br>
            <a:endParaRPr lang="en-US" sz="2800" b="0" dirty="0">
              <a:latin typeface="Arial" panose="020B0604020202020204" pitchFamily="34" charset="0"/>
              <a:cs typeface="Arial" panose="020B0604020202020204" pitchFamily="34" charset="0"/>
            </a:endParaRPr>
          </a:p>
        </p:txBody>
      </p:sp>
      <p:sp>
        <p:nvSpPr>
          <p:cNvPr id="7" name="Plassholder for innhold 2">
            <a:extLst>
              <a:ext uri="{FF2B5EF4-FFF2-40B4-BE49-F238E27FC236}">
                <a16:creationId xmlns:a16="http://schemas.microsoft.com/office/drawing/2014/main" id="{63991A79-2DF5-4987-8986-F8B6237BF2C9}"/>
              </a:ext>
            </a:extLst>
          </p:cNvPr>
          <p:cNvSpPr>
            <a:spLocks noGrp="1"/>
          </p:cNvSpPr>
          <p:nvPr>
            <p:ph idx="1"/>
          </p:nvPr>
        </p:nvSpPr>
        <p:spPr>
          <a:xfrm>
            <a:off x="1659748" y="1181905"/>
            <a:ext cx="10309095" cy="4884155"/>
          </a:xfrm>
        </p:spPr>
        <p:txBody>
          <a:bodyPr>
            <a:normAutofit/>
          </a:bodyPr>
          <a:lstStyle/>
          <a:p>
            <a:pPr>
              <a:lnSpc>
                <a:spcPct val="110000"/>
              </a:lnSpc>
              <a:buFont typeface="Wingdings" panose="05000000000000000000" pitchFamily="2" charset="2"/>
              <a:buChar char="§"/>
            </a:pPr>
            <a:r>
              <a:rPr lang="en-US" sz="2000" dirty="0">
                <a:latin typeface="Arial" panose="020B0604020202020204" pitchFamily="34" charset="0"/>
                <a:cs typeface="Arial" panose="020B0604020202020204" pitchFamily="34" charset="0"/>
                <a:hlinkClick r:id="rId8"/>
              </a:rPr>
              <a:t>Maritime</a:t>
            </a:r>
            <a:endParaRPr lang="en-US" sz="2000" dirty="0">
              <a:latin typeface="Arial" panose="020B0604020202020204" pitchFamily="34" charset="0"/>
              <a:cs typeface="Arial" panose="020B0604020202020204" pitchFamily="34" charset="0"/>
            </a:endParaRPr>
          </a:p>
          <a:p>
            <a:pPr lvl="1">
              <a:lnSpc>
                <a:spcPct val="110000"/>
              </a:lnSpc>
              <a:buFont typeface="Wingdings" panose="05000000000000000000" pitchFamily="2" charset="2"/>
              <a:buChar char="§"/>
            </a:pPr>
            <a:r>
              <a:rPr lang="en-GB" sz="1800" b="0" i="0" dirty="0">
                <a:solidFill>
                  <a:srgbClr val="030303"/>
                </a:solidFill>
                <a:effectLst/>
                <a:latin typeface="Roboto" panose="02000000000000000000" pitchFamily="2" charset="0"/>
              </a:rPr>
              <a:t>Vessel navigation and control</a:t>
            </a:r>
          </a:p>
          <a:p>
            <a:pPr>
              <a:lnSpc>
                <a:spcPct val="110000"/>
              </a:lnSpc>
              <a:buFont typeface="Wingdings" panose="05000000000000000000" pitchFamily="2" charset="2"/>
              <a:buChar char="§"/>
            </a:pPr>
            <a:endParaRPr lang="en-US" sz="2000" dirty="0">
              <a:latin typeface="Arial" panose="020B0604020202020204" pitchFamily="34" charset="0"/>
              <a:cs typeface="Arial" panose="020B0604020202020204" pitchFamily="34" charset="0"/>
            </a:endParaRPr>
          </a:p>
          <a:p>
            <a:pPr>
              <a:lnSpc>
                <a:spcPct val="110000"/>
              </a:lnSpc>
              <a:buFont typeface="Wingdings" panose="05000000000000000000" pitchFamily="2" charset="2"/>
              <a:buChar char="§"/>
            </a:pPr>
            <a:endParaRPr lang="en-US" sz="2000" dirty="0">
              <a:latin typeface="Arial" panose="020B0604020202020204" pitchFamily="34" charset="0"/>
              <a:cs typeface="Arial" panose="020B0604020202020204" pitchFamily="34" charset="0"/>
            </a:endParaRPr>
          </a:p>
          <a:p>
            <a:pPr marL="0" indent="0">
              <a:lnSpc>
                <a:spcPct val="110000"/>
              </a:lnSpc>
              <a:buNone/>
            </a:pPr>
            <a:endParaRPr lang="en-US" sz="2000" dirty="0">
              <a:latin typeface="Arial" panose="020B0604020202020204" pitchFamily="34" charset="0"/>
              <a:cs typeface="Arial" panose="020B0604020202020204" pitchFamily="34" charset="0"/>
            </a:endParaRPr>
          </a:p>
          <a:p>
            <a:pPr>
              <a:lnSpc>
                <a:spcPct val="110000"/>
              </a:lnSpc>
              <a:buFont typeface="Wingdings" panose="05000000000000000000" pitchFamily="2" charset="2"/>
              <a:buChar char="§"/>
            </a:pPr>
            <a:endParaRPr lang="en-US" sz="1900" dirty="0">
              <a:latin typeface="Arial" panose="020B0604020202020204" pitchFamily="34" charset="0"/>
              <a:cs typeface="Arial" panose="020B0604020202020204" pitchFamily="34" charset="0"/>
            </a:endParaRPr>
          </a:p>
          <a:p>
            <a:pPr>
              <a:lnSpc>
                <a:spcPct val="110000"/>
              </a:lnSpc>
              <a:buFont typeface="Wingdings" panose="05000000000000000000" pitchFamily="2" charset="2"/>
              <a:buChar char="§"/>
            </a:pPr>
            <a:endParaRPr lang="en-US" sz="1900" dirty="0">
              <a:latin typeface="Arial" panose="020B0604020202020204" pitchFamily="34" charset="0"/>
              <a:cs typeface="Arial" panose="020B0604020202020204" pitchFamily="34" charset="0"/>
            </a:endParaRPr>
          </a:p>
          <a:p>
            <a:pPr marL="0" indent="0">
              <a:buNone/>
            </a:pPr>
            <a:endParaRPr lang="en-US" sz="1800" dirty="0"/>
          </a:p>
        </p:txBody>
      </p:sp>
      <p:pic>
        <p:nvPicPr>
          <p:cNvPr id="10" name="Online Media 3" title="SFI Gunnerus Live Link">
            <a:hlinkClick r:id="" action="ppaction://media"/>
            <a:extLst>
              <a:ext uri="{FF2B5EF4-FFF2-40B4-BE49-F238E27FC236}">
                <a16:creationId xmlns:a16="http://schemas.microsoft.com/office/drawing/2014/main" id="{A4727755-90FE-4D9D-AA34-9AB6BFE67E3D}"/>
              </a:ext>
            </a:extLst>
          </p:cNvPr>
          <p:cNvPicPr>
            <a:picLocks noRot="1" noChangeAspect="1"/>
          </p:cNvPicPr>
          <p:nvPr>
            <a:videoFile r:link="rId3"/>
          </p:nvPr>
        </p:nvPicPr>
        <p:blipFill>
          <a:blip r:embed="rId9"/>
          <a:stretch>
            <a:fillRect/>
          </a:stretch>
        </p:blipFill>
        <p:spPr>
          <a:xfrm>
            <a:off x="2712460" y="1952503"/>
            <a:ext cx="8034338" cy="4525963"/>
          </a:xfrm>
          <a:prstGeom prst="rect">
            <a:avLst/>
          </a:prstGeom>
        </p:spPr>
      </p:pic>
      <p:sp>
        <p:nvSpPr>
          <p:cNvPr id="11" name="TextBox 10">
            <a:extLst>
              <a:ext uri="{FF2B5EF4-FFF2-40B4-BE49-F238E27FC236}">
                <a16:creationId xmlns:a16="http://schemas.microsoft.com/office/drawing/2014/main" id="{071F40DB-EE7C-4169-A97B-73FBB6D94C3F}"/>
              </a:ext>
            </a:extLst>
          </p:cNvPr>
          <p:cNvSpPr txBox="1"/>
          <p:nvPr/>
        </p:nvSpPr>
        <p:spPr>
          <a:xfrm>
            <a:off x="5349562" y="6478466"/>
            <a:ext cx="5648638" cy="338554"/>
          </a:xfrm>
          <a:prstGeom prst="rect">
            <a:avLst/>
          </a:prstGeom>
          <a:noFill/>
        </p:spPr>
        <p:txBody>
          <a:bodyPr wrap="square" rtlCol="0">
            <a:spAutoFit/>
          </a:bodyPr>
          <a:lstStyle/>
          <a:p>
            <a:r>
              <a:rPr lang="en-US" altLang="zh-CN" sz="1600" dirty="0"/>
              <a:t>NTNU </a:t>
            </a:r>
            <a:r>
              <a:rPr lang="en-US" altLang="zh-CN" sz="1600" dirty="0" err="1"/>
              <a:t>Gunnerus</a:t>
            </a:r>
            <a:r>
              <a:rPr lang="en-US" altLang="zh-CN" sz="1600" dirty="0"/>
              <a:t> live link</a:t>
            </a:r>
            <a:r>
              <a:rPr lang="en-US" sz="1600" dirty="0"/>
              <a:t>.</a:t>
            </a:r>
          </a:p>
        </p:txBody>
      </p:sp>
    </p:spTree>
    <p:extLst>
      <p:ext uri="{BB962C8B-B14F-4D97-AF65-F5344CB8AC3E}">
        <p14:creationId xmlns:p14="http://schemas.microsoft.com/office/powerpoint/2010/main" val="22500801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10"/>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10"/>
                                        </p:tgtEl>
                                      </p:cBhvr>
                                    </p:cmd>
                                  </p:childTnLst>
                                </p:cTn>
                              </p:par>
                            </p:childTnLst>
                          </p:cTn>
                        </p:par>
                      </p:childTnLst>
                    </p:cTn>
                  </p:par>
                </p:childTnLst>
              </p:cTn>
              <p:nextCondLst>
                <p:cond evt="onClick" delay="0">
                  <p:tgtEl>
                    <p:spTgt spid="10"/>
                  </p:tgtEl>
                </p:cond>
              </p:nextCondLst>
            </p:seq>
            <p:video>
              <p:cMediaNode vol="80000">
                <p:cTn id="12" fill="hold" display="0">
                  <p:stCondLst>
                    <p:cond delay="indefinite"/>
                  </p:stCondLst>
                </p:cTn>
                <p:tgtEl>
                  <p:spTgt spid="10"/>
                </p:tgtEl>
              </p:cMediaNode>
            </p:video>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2" name="Object 41" hidden="1">
            <a:extLst>
              <a:ext uri="{FF2B5EF4-FFF2-40B4-BE49-F238E27FC236}">
                <a16:creationId xmlns:a16="http://schemas.microsoft.com/office/drawing/2014/main" id="{301463C9-2282-4A0F-819B-75374BE71C9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42" name="Object 41" hidden="1">
                        <a:extLst>
                          <a:ext uri="{FF2B5EF4-FFF2-40B4-BE49-F238E27FC236}">
                            <a16:creationId xmlns:a16="http://schemas.microsoft.com/office/drawing/2014/main" id="{301463C9-2282-4A0F-819B-75374BE71C9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6" name="Rectangle 45" hidden="1">
            <a:extLst>
              <a:ext uri="{FF2B5EF4-FFF2-40B4-BE49-F238E27FC236}">
                <a16:creationId xmlns:a16="http://schemas.microsoft.com/office/drawing/2014/main" id="{CADF9BBE-ADA6-4A36-A7C9-EC1296DE314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dirty="0">
              <a:latin typeface="Arial" panose="020B0604020202020204" pitchFamily="34" charset="0"/>
              <a:ea typeface="+mj-ea"/>
              <a:cs typeface="Arial" panose="020B0604020202020204" pitchFamily="34" charset="0"/>
              <a:sym typeface="Arial" panose="020B0604020202020204" pitchFamily="34" charset="0"/>
            </a:endParaRPr>
          </a:p>
        </p:txBody>
      </p:sp>
      <p:cxnSp>
        <p:nvCxnSpPr>
          <p:cNvPr id="43" name="Straight Connector 17">
            <a:extLst>
              <a:ext uri="{FF2B5EF4-FFF2-40B4-BE49-F238E27FC236}">
                <a16:creationId xmlns:a16="http://schemas.microsoft.com/office/drawing/2014/main" id="{D619BC49-E4EF-4BC0-B474-609F75846915}"/>
              </a:ext>
            </a:extLst>
          </p:cNvPr>
          <p:cNvCxnSpPr>
            <a:cxnSpLocks/>
          </p:cNvCxnSpPr>
          <p:nvPr/>
        </p:nvCxnSpPr>
        <p:spPr>
          <a:xfrm>
            <a:off x="1659750" y="1181906"/>
            <a:ext cx="997751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5" name="Titel 1">
            <a:extLst>
              <a:ext uri="{FF2B5EF4-FFF2-40B4-BE49-F238E27FC236}">
                <a16:creationId xmlns:a16="http://schemas.microsoft.com/office/drawing/2014/main" id="{ABE05CC7-87A9-4E18-AEA7-3CFE48FBF726}"/>
              </a:ext>
            </a:extLst>
          </p:cNvPr>
          <p:cNvSpPr>
            <a:spLocks noGrp="1"/>
          </p:cNvSpPr>
          <p:nvPr>
            <p:ph type="title"/>
          </p:nvPr>
        </p:nvSpPr>
        <p:spPr>
          <a:xfrm>
            <a:off x="1659750" y="372123"/>
            <a:ext cx="9977511" cy="677691"/>
          </a:xfrm>
        </p:spPr>
        <p:txBody>
          <a:bodyPr>
            <a:noAutofit/>
          </a:bodyPr>
          <a:lstStyle/>
          <a:p>
            <a:br>
              <a:rPr lang="nb-NO" sz="2800" dirty="0">
                <a:solidFill>
                  <a:srgbClr val="01509E"/>
                </a:solidFill>
              </a:rPr>
            </a:br>
            <a:r>
              <a:rPr lang="nb-NO" sz="2800" dirty="0">
                <a:solidFill>
                  <a:srgbClr val="01509E"/>
                </a:solidFill>
              </a:rPr>
              <a:t>Application</a:t>
            </a:r>
            <a:br>
              <a:rPr lang="en-US" sz="2800" dirty="0">
                <a:latin typeface="Arial" panose="020B0604020202020204" pitchFamily="34" charset="0"/>
                <a:cs typeface="Arial" panose="020B0604020202020204" pitchFamily="34" charset="0"/>
              </a:rPr>
            </a:br>
            <a:endParaRPr lang="en-US" sz="2800" b="0" dirty="0">
              <a:latin typeface="Arial" panose="020B0604020202020204" pitchFamily="34" charset="0"/>
              <a:cs typeface="Arial" panose="020B0604020202020204" pitchFamily="34" charset="0"/>
            </a:endParaRPr>
          </a:p>
        </p:txBody>
      </p:sp>
      <p:sp>
        <p:nvSpPr>
          <p:cNvPr id="7" name="Plassholder for innhold 2">
            <a:extLst>
              <a:ext uri="{FF2B5EF4-FFF2-40B4-BE49-F238E27FC236}">
                <a16:creationId xmlns:a16="http://schemas.microsoft.com/office/drawing/2014/main" id="{63991A79-2DF5-4987-8986-F8B6237BF2C9}"/>
              </a:ext>
            </a:extLst>
          </p:cNvPr>
          <p:cNvSpPr>
            <a:spLocks noGrp="1"/>
          </p:cNvSpPr>
          <p:nvPr>
            <p:ph idx="1"/>
          </p:nvPr>
        </p:nvSpPr>
        <p:spPr>
          <a:xfrm>
            <a:off x="1659748" y="1181905"/>
            <a:ext cx="10309095" cy="4884155"/>
          </a:xfrm>
        </p:spPr>
        <p:txBody>
          <a:bodyPr>
            <a:normAutofit/>
          </a:bodyPr>
          <a:lstStyle/>
          <a:p>
            <a:pPr>
              <a:lnSpc>
                <a:spcPct val="110000"/>
              </a:lnSpc>
              <a:buFont typeface="Wingdings" panose="05000000000000000000" pitchFamily="2" charset="2"/>
              <a:buChar char="§"/>
            </a:pPr>
            <a:r>
              <a:rPr lang="en-US" sz="2000" dirty="0">
                <a:latin typeface="Arial" panose="020B0604020202020204" pitchFamily="34" charset="0"/>
                <a:cs typeface="Arial" panose="020B0604020202020204" pitchFamily="34" charset="0"/>
                <a:hlinkClick r:id="rId7"/>
              </a:rPr>
              <a:t>Maritime</a:t>
            </a:r>
            <a:r>
              <a:rPr lang="en-US" sz="2000" dirty="0">
                <a:latin typeface="Arial" panose="020B0604020202020204" pitchFamily="34" charset="0"/>
                <a:cs typeface="Arial" panose="020B0604020202020204" pitchFamily="34" charset="0"/>
              </a:rPr>
              <a:t> are benefiting from digital twins</a:t>
            </a:r>
            <a:r>
              <a:rPr lang="zh-CN" altLang="en-US" sz="2000" dirty="0">
                <a:latin typeface="Arial" panose="020B0604020202020204" pitchFamily="34" charset="0"/>
                <a:cs typeface="Arial" panose="020B0604020202020204" pitchFamily="34" charset="0"/>
              </a:rPr>
              <a:t>：</a:t>
            </a:r>
            <a:endParaRPr lang="en-GB" altLang="zh-CN" sz="2000" dirty="0">
              <a:latin typeface="Arial" panose="020B0604020202020204" pitchFamily="34" charset="0"/>
              <a:cs typeface="Arial" panose="020B0604020202020204" pitchFamily="34" charset="0"/>
            </a:endParaRPr>
          </a:p>
          <a:p>
            <a:pPr lvl="1">
              <a:lnSpc>
                <a:spcPct val="110000"/>
              </a:lnSpc>
              <a:buFont typeface="Wingdings" panose="05000000000000000000" pitchFamily="2" charset="2"/>
              <a:buChar char="§"/>
            </a:pPr>
            <a:r>
              <a:rPr lang="en-US" altLang="zh-CN" sz="1600" dirty="0">
                <a:latin typeface="Arial" panose="020B0604020202020204" pitchFamily="34" charset="0"/>
                <a:cs typeface="Arial" panose="020B0604020202020204" pitchFamily="34" charset="0"/>
              </a:rPr>
              <a:t>Predictive system </a:t>
            </a:r>
            <a:r>
              <a:rPr lang="en-US" altLang="zh-CN" sz="1600" dirty="0" err="1">
                <a:latin typeface="Arial" panose="020B0604020202020204" pitchFamily="34" charset="0"/>
                <a:cs typeface="Arial" panose="020B0604020202020204" pitchFamily="34" charset="0"/>
              </a:rPr>
              <a:t>behaviour</a:t>
            </a:r>
            <a:endParaRPr lang="en-US" altLang="zh-CN" sz="1600" dirty="0">
              <a:latin typeface="Arial" panose="020B0604020202020204" pitchFamily="34" charset="0"/>
              <a:cs typeface="Arial" panose="020B0604020202020204" pitchFamily="34" charset="0"/>
            </a:endParaRPr>
          </a:p>
          <a:p>
            <a:pPr lvl="1">
              <a:lnSpc>
                <a:spcPct val="110000"/>
              </a:lnSpc>
              <a:buFont typeface="Wingdings" panose="05000000000000000000" pitchFamily="2" charset="2"/>
              <a:buChar char="§"/>
            </a:pPr>
            <a:r>
              <a:rPr lang="en-US" sz="1600" dirty="0">
                <a:latin typeface="Arial" panose="020B0604020202020204" pitchFamily="34" charset="0"/>
                <a:cs typeface="Arial" panose="020B0604020202020204" pitchFamily="34" charset="0"/>
              </a:rPr>
              <a:t>Simulations of rough environments</a:t>
            </a:r>
          </a:p>
          <a:p>
            <a:pPr lvl="1">
              <a:lnSpc>
                <a:spcPct val="110000"/>
              </a:lnSpc>
              <a:buFont typeface="Wingdings" panose="05000000000000000000" pitchFamily="2" charset="2"/>
              <a:buChar char="§"/>
            </a:pPr>
            <a:r>
              <a:rPr lang="en-US" sz="1600" dirty="0">
                <a:latin typeface="Arial" panose="020B0604020202020204" pitchFamily="34" charset="0"/>
                <a:cs typeface="Arial" panose="020B0604020202020204" pitchFamily="34" charset="0"/>
              </a:rPr>
              <a:t>Less downtime</a:t>
            </a:r>
          </a:p>
          <a:p>
            <a:pPr lvl="1">
              <a:lnSpc>
                <a:spcPct val="110000"/>
              </a:lnSpc>
              <a:buFont typeface="Wingdings" panose="05000000000000000000" pitchFamily="2" charset="2"/>
              <a:buChar char="§"/>
            </a:pPr>
            <a:r>
              <a:rPr lang="en-US" sz="1600" dirty="0">
                <a:latin typeface="Arial" panose="020B0604020202020204" pitchFamily="34" charset="0"/>
                <a:cs typeface="Arial" panose="020B0604020202020204" pitchFamily="34" charset="0"/>
              </a:rPr>
              <a:t>Less man hours for maintenance and improved lifespan for their systems</a:t>
            </a:r>
          </a:p>
          <a:p>
            <a:pPr>
              <a:lnSpc>
                <a:spcPct val="110000"/>
              </a:lnSpc>
              <a:buFont typeface="Wingdings" panose="05000000000000000000" pitchFamily="2" charset="2"/>
              <a:buChar char="§"/>
            </a:pPr>
            <a:endParaRPr lang="en-US" sz="2000" dirty="0">
              <a:latin typeface="Arial" panose="020B0604020202020204" pitchFamily="34" charset="0"/>
              <a:cs typeface="Arial" panose="020B0604020202020204" pitchFamily="34" charset="0"/>
            </a:endParaRPr>
          </a:p>
          <a:p>
            <a:pPr>
              <a:lnSpc>
                <a:spcPct val="110000"/>
              </a:lnSpc>
              <a:buFont typeface="Wingdings" panose="05000000000000000000" pitchFamily="2" charset="2"/>
              <a:buChar char="§"/>
            </a:pPr>
            <a:endParaRPr lang="en-US" sz="2000" dirty="0">
              <a:latin typeface="Arial" panose="020B0604020202020204" pitchFamily="34" charset="0"/>
              <a:cs typeface="Arial" panose="020B0604020202020204" pitchFamily="34" charset="0"/>
            </a:endParaRPr>
          </a:p>
          <a:p>
            <a:pPr marL="0" indent="0">
              <a:lnSpc>
                <a:spcPct val="110000"/>
              </a:lnSpc>
              <a:buNone/>
            </a:pPr>
            <a:endParaRPr lang="en-US" sz="2000" dirty="0">
              <a:latin typeface="Arial" panose="020B0604020202020204" pitchFamily="34" charset="0"/>
              <a:cs typeface="Arial" panose="020B0604020202020204" pitchFamily="34" charset="0"/>
            </a:endParaRPr>
          </a:p>
          <a:p>
            <a:pPr>
              <a:lnSpc>
                <a:spcPct val="110000"/>
              </a:lnSpc>
              <a:buFont typeface="Wingdings" panose="05000000000000000000" pitchFamily="2" charset="2"/>
              <a:buChar char="§"/>
            </a:pPr>
            <a:endParaRPr lang="en-US" sz="1900" dirty="0">
              <a:latin typeface="Arial" panose="020B0604020202020204" pitchFamily="34" charset="0"/>
              <a:cs typeface="Arial" panose="020B0604020202020204" pitchFamily="34" charset="0"/>
            </a:endParaRPr>
          </a:p>
          <a:p>
            <a:pPr>
              <a:lnSpc>
                <a:spcPct val="110000"/>
              </a:lnSpc>
              <a:buFont typeface="Wingdings" panose="05000000000000000000" pitchFamily="2" charset="2"/>
              <a:buChar char="§"/>
            </a:pPr>
            <a:endParaRPr lang="en-US" sz="1900" dirty="0">
              <a:latin typeface="Arial" panose="020B0604020202020204" pitchFamily="34" charset="0"/>
              <a:cs typeface="Arial" panose="020B0604020202020204" pitchFamily="34" charset="0"/>
            </a:endParaRPr>
          </a:p>
          <a:p>
            <a:pPr marL="0" indent="0">
              <a:buNone/>
            </a:pPr>
            <a:endParaRPr lang="en-US" sz="1800" dirty="0"/>
          </a:p>
        </p:txBody>
      </p:sp>
    </p:spTree>
    <p:extLst>
      <p:ext uri="{BB962C8B-B14F-4D97-AF65-F5344CB8AC3E}">
        <p14:creationId xmlns:p14="http://schemas.microsoft.com/office/powerpoint/2010/main" val="36536458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2" name="Object 41" hidden="1">
            <a:extLst>
              <a:ext uri="{FF2B5EF4-FFF2-40B4-BE49-F238E27FC236}">
                <a16:creationId xmlns:a16="http://schemas.microsoft.com/office/drawing/2014/main" id="{301463C9-2282-4A0F-819B-75374BE71C9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42" name="Object 41" hidden="1">
                        <a:extLst>
                          <a:ext uri="{FF2B5EF4-FFF2-40B4-BE49-F238E27FC236}">
                            <a16:creationId xmlns:a16="http://schemas.microsoft.com/office/drawing/2014/main" id="{301463C9-2282-4A0F-819B-75374BE71C9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6" name="Rectangle 45" hidden="1">
            <a:extLst>
              <a:ext uri="{FF2B5EF4-FFF2-40B4-BE49-F238E27FC236}">
                <a16:creationId xmlns:a16="http://schemas.microsoft.com/office/drawing/2014/main" id="{CADF9BBE-ADA6-4A36-A7C9-EC1296DE314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dirty="0">
              <a:latin typeface="Arial" panose="020B0604020202020204" pitchFamily="34" charset="0"/>
              <a:ea typeface="+mj-ea"/>
              <a:cs typeface="Arial" panose="020B0604020202020204" pitchFamily="34" charset="0"/>
              <a:sym typeface="Arial" panose="020B0604020202020204" pitchFamily="34" charset="0"/>
            </a:endParaRPr>
          </a:p>
        </p:txBody>
      </p:sp>
      <p:cxnSp>
        <p:nvCxnSpPr>
          <p:cNvPr id="43" name="Straight Connector 17">
            <a:extLst>
              <a:ext uri="{FF2B5EF4-FFF2-40B4-BE49-F238E27FC236}">
                <a16:creationId xmlns:a16="http://schemas.microsoft.com/office/drawing/2014/main" id="{D619BC49-E4EF-4BC0-B474-609F75846915}"/>
              </a:ext>
            </a:extLst>
          </p:cNvPr>
          <p:cNvCxnSpPr>
            <a:cxnSpLocks/>
          </p:cNvCxnSpPr>
          <p:nvPr/>
        </p:nvCxnSpPr>
        <p:spPr>
          <a:xfrm>
            <a:off x="1659750" y="1181906"/>
            <a:ext cx="997751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5" name="Titel 1">
            <a:extLst>
              <a:ext uri="{FF2B5EF4-FFF2-40B4-BE49-F238E27FC236}">
                <a16:creationId xmlns:a16="http://schemas.microsoft.com/office/drawing/2014/main" id="{ABE05CC7-87A9-4E18-AEA7-3CFE48FBF726}"/>
              </a:ext>
            </a:extLst>
          </p:cNvPr>
          <p:cNvSpPr>
            <a:spLocks noGrp="1"/>
          </p:cNvSpPr>
          <p:nvPr>
            <p:ph type="title"/>
          </p:nvPr>
        </p:nvSpPr>
        <p:spPr>
          <a:xfrm>
            <a:off x="1659750" y="372123"/>
            <a:ext cx="9977511" cy="677691"/>
          </a:xfrm>
        </p:spPr>
        <p:txBody>
          <a:bodyPr>
            <a:noAutofit/>
          </a:bodyPr>
          <a:lstStyle/>
          <a:p>
            <a:br>
              <a:rPr lang="nb-NO" sz="2400" dirty="0">
                <a:solidFill>
                  <a:srgbClr val="01509E"/>
                </a:solidFill>
              </a:rPr>
            </a:br>
            <a:r>
              <a:rPr lang="nb-NO" sz="2400" dirty="0">
                <a:solidFill>
                  <a:srgbClr val="01509E"/>
                </a:solidFill>
              </a:rPr>
              <a:t>Introduction</a:t>
            </a:r>
            <a:br>
              <a:rPr lang="nb-NO" sz="2400" dirty="0">
                <a:solidFill>
                  <a:srgbClr val="01509E"/>
                </a:solidFill>
              </a:rPr>
            </a:br>
            <a:r>
              <a:rPr lang="nb-NO" sz="2000" b="0" dirty="0" err="1">
                <a:solidFill>
                  <a:schemeClr val="bg1">
                    <a:lumMod val="50000"/>
                  </a:schemeClr>
                </a:solidFill>
              </a:rPr>
              <a:t>Introduction</a:t>
            </a:r>
            <a:r>
              <a:rPr lang="nb-NO" sz="2000" b="0" dirty="0">
                <a:solidFill>
                  <a:schemeClr val="bg1">
                    <a:lumMod val="50000"/>
                  </a:schemeClr>
                </a:solidFill>
              </a:rPr>
              <a:t> </a:t>
            </a:r>
            <a:r>
              <a:rPr lang="nb-NO" sz="2000" b="0" dirty="0" err="1">
                <a:solidFill>
                  <a:schemeClr val="bg1">
                    <a:lumMod val="50000"/>
                  </a:schemeClr>
                </a:solidFill>
              </a:rPr>
              <a:t>of</a:t>
            </a:r>
            <a:r>
              <a:rPr lang="nb-NO" sz="2000" b="0" dirty="0">
                <a:solidFill>
                  <a:schemeClr val="bg1">
                    <a:lumMod val="50000"/>
                  </a:schemeClr>
                </a:solidFill>
              </a:rPr>
              <a:t> VP</a:t>
            </a:r>
            <a:br>
              <a:rPr lang="en-US" sz="2400" dirty="0">
                <a:latin typeface="Arial" panose="020B0604020202020204" pitchFamily="34" charset="0"/>
                <a:cs typeface="Arial" panose="020B0604020202020204" pitchFamily="34" charset="0"/>
              </a:rPr>
            </a:br>
            <a:endParaRPr lang="en-US" sz="2400" b="0" dirty="0">
              <a:latin typeface="Arial" panose="020B0604020202020204" pitchFamily="34" charset="0"/>
              <a:cs typeface="Arial" panose="020B0604020202020204" pitchFamily="34" charset="0"/>
            </a:endParaRPr>
          </a:p>
        </p:txBody>
      </p:sp>
      <p:sp>
        <p:nvSpPr>
          <p:cNvPr id="7" name="Plassholder for innhold 2">
            <a:extLst>
              <a:ext uri="{FF2B5EF4-FFF2-40B4-BE49-F238E27FC236}">
                <a16:creationId xmlns:a16="http://schemas.microsoft.com/office/drawing/2014/main" id="{63991A79-2DF5-4987-8986-F8B6237BF2C9}"/>
              </a:ext>
            </a:extLst>
          </p:cNvPr>
          <p:cNvSpPr>
            <a:spLocks noGrp="1"/>
          </p:cNvSpPr>
          <p:nvPr>
            <p:ph idx="1"/>
          </p:nvPr>
        </p:nvSpPr>
        <p:spPr>
          <a:xfrm>
            <a:off x="1659748" y="1181905"/>
            <a:ext cx="10309095" cy="4884155"/>
          </a:xfrm>
        </p:spPr>
        <p:txBody>
          <a:bodyPr>
            <a:normAutofit/>
          </a:bodyPr>
          <a:lstStyle/>
          <a:p>
            <a:pPr>
              <a:lnSpc>
                <a:spcPct val="110000"/>
              </a:lnSpc>
              <a:buFont typeface="Wingdings" panose="05000000000000000000" pitchFamily="2" charset="2"/>
              <a:buChar char="§"/>
            </a:pPr>
            <a:r>
              <a:rPr lang="en-US" sz="2000" dirty="0">
                <a:latin typeface="Arial" panose="020B0604020202020204" pitchFamily="34" charset="0"/>
                <a:cs typeface="Arial" panose="020B0604020202020204" pitchFamily="34" charset="0"/>
              </a:rPr>
              <a:t>Prototyping:</a:t>
            </a:r>
          </a:p>
          <a:p>
            <a:pPr lvl="1">
              <a:lnSpc>
                <a:spcPct val="110000"/>
              </a:lnSpc>
              <a:buFont typeface="Wingdings" panose="05000000000000000000" pitchFamily="2" charset="2"/>
              <a:buChar char="§"/>
            </a:pPr>
            <a:r>
              <a:rPr lang="en-US" sz="1467" dirty="0">
                <a:latin typeface="Arial" panose="020B0604020202020204" pitchFamily="34" charset="0"/>
                <a:cs typeface="Arial" panose="020B0604020202020204" pitchFamily="34" charset="0"/>
              </a:rPr>
              <a:t>is an integral step of product design &amp; development. New products that are developed from scratch and also enhancements to existing products traditionally involve </a:t>
            </a:r>
            <a:r>
              <a:rPr lang="en-US" sz="1467" b="1" dirty="0">
                <a:latin typeface="Arial" panose="020B0604020202020204" pitchFamily="34" charset="0"/>
                <a:cs typeface="Arial" panose="020B0604020202020204" pitchFamily="34" charset="0"/>
              </a:rPr>
              <a:t>physical prototyping</a:t>
            </a:r>
            <a:r>
              <a:rPr lang="en-US" sz="1467" dirty="0">
                <a:latin typeface="Arial" panose="020B0604020202020204" pitchFamily="34" charset="0"/>
                <a:cs typeface="Arial" panose="020B0604020202020204" pitchFamily="34" charset="0"/>
              </a:rPr>
              <a:t>. </a:t>
            </a:r>
          </a:p>
          <a:p>
            <a:pPr marL="0" indent="0">
              <a:lnSpc>
                <a:spcPct val="110000"/>
              </a:lnSpc>
              <a:buNone/>
            </a:pPr>
            <a:endParaRPr lang="en-US" sz="2000" dirty="0">
              <a:latin typeface="Arial" panose="020B0604020202020204" pitchFamily="34" charset="0"/>
              <a:cs typeface="Arial" panose="020B0604020202020204" pitchFamily="34" charset="0"/>
            </a:endParaRPr>
          </a:p>
          <a:p>
            <a:pPr>
              <a:lnSpc>
                <a:spcPct val="110000"/>
              </a:lnSpc>
              <a:buFont typeface="Wingdings" panose="05000000000000000000" pitchFamily="2" charset="2"/>
              <a:buChar char="§"/>
            </a:pPr>
            <a:endParaRPr lang="en-US" sz="1900" dirty="0">
              <a:latin typeface="Arial" panose="020B0604020202020204" pitchFamily="34" charset="0"/>
              <a:cs typeface="Arial" panose="020B0604020202020204" pitchFamily="34" charset="0"/>
            </a:endParaRPr>
          </a:p>
          <a:p>
            <a:pPr>
              <a:lnSpc>
                <a:spcPct val="110000"/>
              </a:lnSpc>
              <a:buFont typeface="Wingdings" panose="05000000000000000000" pitchFamily="2" charset="2"/>
              <a:buChar char="§"/>
            </a:pPr>
            <a:endParaRPr lang="en-US" sz="1900" dirty="0">
              <a:latin typeface="Arial" panose="020B0604020202020204" pitchFamily="34" charset="0"/>
              <a:cs typeface="Arial" panose="020B0604020202020204" pitchFamily="34" charset="0"/>
            </a:endParaRPr>
          </a:p>
          <a:p>
            <a:pPr marL="0" indent="0">
              <a:buNone/>
            </a:pPr>
            <a:endParaRPr lang="en-US" sz="1800" dirty="0"/>
          </a:p>
        </p:txBody>
      </p:sp>
      <p:pic>
        <p:nvPicPr>
          <p:cNvPr id="9" name="Picture 2" descr="DP_FlowChart">
            <a:extLst>
              <a:ext uri="{FF2B5EF4-FFF2-40B4-BE49-F238E27FC236}">
                <a16:creationId xmlns:a16="http://schemas.microsoft.com/office/drawing/2014/main" id="{5472148F-B319-4290-A586-E3553895977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59750" y="2443678"/>
            <a:ext cx="5858074" cy="3895164"/>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3F4ED8F6-B2AB-4B21-B259-1A21DBAED29A}"/>
              </a:ext>
            </a:extLst>
          </p:cNvPr>
          <p:cNvSpPr txBox="1"/>
          <p:nvPr/>
        </p:nvSpPr>
        <p:spPr>
          <a:xfrm>
            <a:off x="7717352" y="2937776"/>
            <a:ext cx="4318000" cy="584775"/>
          </a:xfrm>
          <a:prstGeom prst="rect">
            <a:avLst/>
          </a:prstGeom>
          <a:noFill/>
        </p:spPr>
        <p:txBody>
          <a:bodyPr wrap="square" rtlCol="0">
            <a:spAutoFit/>
          </a:bodyPr>
          <a:lstStyle/>
          <a:p>
            <a:pPr marL="285750" indent="-285750">
              <a:buFont typeface="Wingdings" panose="05000000000000000000" pitchFamily="2" charset="2"/>
              <a:buChar char="Ø"/>
            </a:pPr>
            <a:r>
              <a:rPr lang="en-US" sz="1600" dirty="0"/>
              <a:t>Various types of physical prototypes are needed</a:t>
            </a:r>
            <a:r>
              <a:rPr lang="en-GB" sz="1600" dirty="0"/>
              <a:t>.</a:t>
            </a:r>
            <a:r>
              <a:rPr lang="en-US" sz="1600" dirty="0"/>
              <a:t> </a:t>
            </a:r>
          </a:p>
        </p:txBody>
      </p:sp>
      <p:sp>
        <p:nvSpPr>
          <p:cNvPr id="11" name="TextBox 10">
            <a:extLst>
              <a:ext uri="{FF2B5EF4-FFF2-40B4-BE49-F238E27FC236}">
                <a16:creationId xmlns:a16="http://schemas.microsoft.com/office/drawing/2014/main" id="{C8B9E813-0510-4E9D-A481-EE001DAB792E}"/>
              </a:ext>
            </a:extLst>
          </p:cNvPr>
          <p:cNvSpPr txBox="1"/>
          <p:nvPr/>
        </p:nvSpPr>
        <p:spPr>
          <a:xfrm>
            <a:off x="7717352" y="3571057"/>
            <a:ext cx="4318000" cy="584775"/>
          </a:xfrm>
          <a:prstGeom prst="rect">
            <a:avLst/>
          </a:prstGeom>
          <a:noFill/>
        </p:spPr>
        <p:txBody>
          <a:bodyPr wrap="square" rtlCol="0">
            <a:spAutoFit/>
          </a:bodyPr>
          <a:lstStyle/>
          <a:p>
            <a:pPr marL="285750" indent="-285750">
              <a:buFont typeface="Wingdings" panose="05000000000000000000" pitchFamily="2" charset="2"/>
              <a:buChar char="Ø"/>
            </a:pPr>
            <a:r>
              <a:rPr lang="en-US" sz="1600" dirty="0"/>
              <a:t>Each prototype requires a review meeting to proceed to the next stage.</a:t>
            </a:r>
          </a:p>
        </p:txBody>
      </p:sp>
      <p:sp>
        <p:nvSpPr>
          <p:cNvPr id="12" name="TextBox 11">
            <a:extLst>
              <a:ext uri="{FF2B5EF4-FFF2-40B4-BE49-F238E27FC236}">
                <a16:creationId xmlns:a16="http://schemas.microsoft.com/office/drawing/2014/main" id="{2F07ADF2-4969-432C-AC78-AD7623B1C652}"/>
              </a:ext>
            </a:extLst>
          </p:cNvPr>
          <p:cNvSpPr txBox="1"/>
          <p:nvPr/>
        </p:nvSpPr>
        <p:spPr>
          <a:xfrm>
            <a:off x="7717352" y="4181056"/>
            <a:ext cx="4318000" cy="584775"/>
          </a:xfrm>
          <a:prstGeom prst="rect">
            <a:avLst/>
          </a:prstGeom>
          <a:noFill/>
        </p:spPr>
        <p:txBody>
          <a:bodyPr wrap="square" rtlCol="0">
            <a:spAutoFit/>
          </a:bodyPr>
          <a:lstStyle/>
          <a:p>
            <a:pPr marL="285750" indent="-285750">
              <a:buFont typeface="Wingdings" panose="05000000000000000000" pitchFamily="2" charset="2"/>
              <a:buChar char="Ø"/>
            </a:pPr>
            <a:r>
              <a:rPr lang="en-US" sz="1600" dirty="0"/>
              <a:t>Traditional machining is both reliable and a perfected process.</a:t>
            </a:r>
          </a:p>
        </p:txBody>
      </p:sp>
      <p:sp>
        <p:nvSpPr>
          <p:cNvPr id="13" name="TextBox 12">
            <a:extLst>
              <a:ext uri="{FF2B5EF4-FFF2-40B4-BE49-F238E27FC236}">
                <a16:creationId xmlns:a16="http://schemas.microsoft.com/office/drawing/2014/main" id="{C15636BA-E68B-42E8-BD1B-E98DAA8CE717}"/>
              </a:ext>
            </a:extLst>
          </p:cNvPr>
          <p:cNvSpPr txBox="1"/>
          <p:nvPr/>
        </p:nvSpPr>
        <p:spPr>
          <a:xfrm>
            <a:off x="7717352" y="4870293"/>
            <a:ext cx="4318000" cy="584775"/>
          </a:xfrm>
          <a:prstGeom prst="rect">
            <a:avLst/>
          </a:prstGeom>
          <a:noFill/>
        </p:spPr>
        <p:txBody>
          <a:bodyPr wrap="square" rtlCol="0">
            <a:spAutoFit/>
          </a:bodyPr>
          <a:lstStyle/>
          <a:p>
            <a:pPr marL="285750" indent="-285750">
              <a:buFont typeface="Wingdings" panose="05000000000000000000" pitchFamily="2" charset="2"/>
              <a:buChar char="Ø"/>
            </a:pPr>
            <a:r>
              <a:rPr lang="en-US" sz="1600" dirty="0"/>
              <a:t>The downside is the time and cost involved as mentioned above.</a:t>
            </a:r>
          </a:p>
        </p:txBody>
      </p:sp>
    </p:spTree>
    <p:extLst>
      <p:ext uri="{BB962C8B-B14F-4D97-AF65-F5344CB8AC3E}">
        <p14:creationId xmlns:p14="http://schemas.microsoft.com/office/powerpoint/2010/main" val="210575632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2" name="Object 41" hidden="1">
            <a:extLst>
              <a:ext uri="{FF2B5EF4-FFF2-40B4-BE49-F238E27FC236}">
                <a16:creationId xmlns:a16="http://schemas.microsoft.com/office/drawing/2014/main" id="{301463C9-2282-4A0F-819B-75374BE71C9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42" name="Object 41" hidden="1">
                        <a:extLst>
                          <a:ext uri="{FF2B5EF4-FFF2-40B4-BE49-F238E27FC236}">
                            <a16:creationId xmlns:a16="http://schemas.microsoft.com/office/drawing/2014/main" id="{301463C9-2282-4A0F-819B-75374BE71C9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6" name="Rectangle 45" hidden="1">
            <a:extLst>
              <a:ext uri="{FF2B5EF4-FFF2-40B4-BE49-F238E27FC236}">
                <a16:creationId xmlns:a16="http://schemas.microsoft.com/office/drawing/2014/main" id="{CADF9BBE-ADA6-4A36-A7C9-EC1296DE314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dirty="0">
              <a:latin typeface="Arial" panose="020B0604020202020204" pitchFamily="34" charset="0"/>
              <a:ea typeface="+mj-ea"/>
              <a:cs typeface="Arial" panose="020B0604020202020204" pitchFamily="34" charset="0"/>
              <a:sym typeface="Arial" panose="020B0604020202020204" pitchFamily="34" charset="0"/>
            </a:endParaRPr>
          </a:p>
        </p:txBody>
      </p:sp>
      <p:cxnSp>
        <p:nvCxnSpPr>
          <p:cNvPr id="43" name="Straight Connector 17">
            <a:extLst>
              <a:ext uri="{FF2B5EF4-FFF2-40B4-BE49-F238E27FC236}">
                <a16:creationId xmlns:a16="http://schemas.microsoft.com/office/drawing/2014/main" id="{D619BC49-E4EF-4BC0-B474-609F75846915}"/>
              </a:ext>
            </a:extLst>
          </p:cNvPr>
          <p:cNvCxnSpPr>
            <a:cxnSpLocks/>
          </p:cNvCxnSpPr>
          <p:nvPr/>
        </p:nvCxnSpPr>
        <p:spPr>
          <a:xfrm>
            <a:off x="1659750" y="1181906"/>
            <a:ext cx="997751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5" name="Titel 1">
            <a:extLst>
              <a:ext uri="{FF2B5EF4-FFF2-40B4-BE49-F238E27FC236}">
                <a16:creationId xmlns:a16="http://schemas.microsoft.com/office/drawing/2014/main" id="{ABE05CC7-87A9-4E18-AEA7-3CFE48FBF726}"/>
              </a:ext>
            </a:extLst>
          </p:cNvPr>
          <p:cNvSpPr>
            <a:spLocks noGrp="1"/>
          </p:cNvSpPr>
          <p:nvPr>
            <p:ph type="title"/>
          </p:nvPr>
        </p:nvSpPr>
        <p:spPr>
          <a:xfrm>
            <a:off x="1659750" y="372123"/>
            <a:ext cx="9977511" cy="677691"/>
          </a:xfrm>
        </p:spPr>
        <p:txBody>
          <a:bodyPr>
            <a:noAutofit/>
          </a:bodyPr>
          <a:lstStyle/>
          <a:p>
            <a:br>
              <a:rPr lang="nb-NO" sz="2400" dirty="0">
                <a:solidFill>
                  <a:srgbClr val="01509E"/>
                </a:solidFill>
              </a:rPr>
            </a:br>
            <a:r>
              <a:rPr lang="nb-NO" sz="2400" dirty="0">
                <a:solidFill>
                  <a:srgbClr val="01509E"/>
                </a:solidFill>
              </a:rPr>
              <a:t>Introduction</a:t>
            </a:r>
            <a:br>
              <a:rPr lang="nb-NO" sz="2400" dirty="0">
                <a:solidFill>
                  <a:srgbClr val="01509E"/>
                </a:solidFill>
              </a:rPr>
            </a:br>
            <a:r>
              <a:rPr lang="nb-NO" sz="2000" b="0" dirty="0" err="1">
                <a:solidFill>
                  <a:schemeClr val="bg1">
                    <a:lumMod val="50000"/>
                  </a:schemeClr>
                </a:solidFill>
              </a:rPr>
              <a:t>Introduction</a:t>
            </a:r>
            <a:r>
              <a:rPr lang="nb-NO" sz="2000" b="0" dirty="0">
                <a:solidFill>
                  <a:schemeClr val="bg1">
                    <a:lumMod val="50000"/>
                  </a:schemeClr>
                </a:solidFill>
              </a:rPr>
              <a:t> </a:t>
            </a:r>
            <a:r>
              <a:rPr lang="nb-NO" sz="2000" b="0" dirty="0" err="1">
                <a:solidFill>
                  <a:schemeClr val="bg1">
                    <a:lumMod val="50000"/>
                  </a:schemeClr>
                </a:solidFill>
              </a:rPr>
              <a:t>of</a:t>
            </a:r>
            <a:r>
              <a:rPr lang="nb-NO" sz="2000" b="0" dirty="0">
                <a:solidFill>
                  <a:schemeClr val="bg1">
                    <a:lumMod val="50000"/>
                  </a:schemeClr>
                </a:solidFill>
              </a:rPr>
              <a:t> VP</a:t>
            </a:r>
            <a:br>
              <a:rPr lang="en-US" sz="2400" dirty="0">
                <a:latin typeface="Arial" panose="020B0604020202020204" pitchFamily="34" charset="0"/>
                <a:cs typeface="Arial" panose="020B0604020202020204" pitchFamily="34" charset="0"/>
              </a:rPr>
            </a:br>
            <a:endParaRPr lang="en-US" sz="2400" b="0" dirty="0">
              <a:latin typeface="Arial" panose="020B0604020202020204" pitchFamily="34" charset="0"/>
              <a:cs typeface="Arial" panose="020B0604020202020204" pitchFamily="34" charset="0"/>
            </a:endParaRPr>
          </a:p>
        </p:txBody>
      </p:sp>
      <p:sp>
        <p:nvSpPr>
          <p:cNvPr id="7" name="Plassholder for innhold 2">
            <a:extLst>
              <a:ext uri="{FF2B5EF4-FFF2-40B4-BE49-F238E27FC236}">
                <a16:creationId xmlns:a16="http://schemas.microsoft.com/office/drawing/2014/main" id="{63991A79-2DF5-4987-8986-F8B6237BF2C9}"/>
              </a:ext>
            </a:extLst>
          </p:cNvPr>
          <p:cNvSpPr>
            <a:spLocks noGrp="1"/>
          </p:cNvSpPr>
          <p:nvPr>
            <p:ph idx="1"/>
          </p:nvPr>
        </p:nvSpPr>
        <p:spPr>
          <a:xfrm>
            <a:off x="1659748" y="1181905"/>
            <a:ext cx="10309095" cy="4884155"/>
          </a:xfrm>
        </p:spPr>
        <p:txBody>
          <a:bodyPr>
            <a:normAutofit/>
          </a:bodyPr>
          <a:lstStyle/>
          <a:p>
            <a:pPr>
              <a:lnSpc>
                <a:spcPct val="110000"/>
              </a:lnSpc>
              <a:buFont typeface="Wingdings" panose="05000000000000000000" pitchFamily="2" charset="2"/>
              <a:buChar char="§"/>
            </a:pPr>
            <a:r>
              <a:rPr lang="en-US" sz="2000" dirty="0">
                <a:latin typeface="Arial" panose="020B0604020202020204" pitchFamily="34" charset="0"/>
                <a:cs typeface="Arial" panose="020B0604020202020204" pitchFamily="34" charset="0"/>
              </a:rPr>
              <a:t>Virtual prototyping (VP):</a:t>
            </a:r>
          </a:p>
          <a:p>
            <a:pPr lvl="1">
              <a:lnSpc>
                <a:spcPct val="110000"/>
              </a:lnSpc>
              <a:buFont typeface="Wingdings" panose="05000000000000000000" pitchFamily="2" charset="2"/>
              <a:buChar char="§"/>
            </a:pPr>
            <a:r>
              <a:rPr lang="en-US" sz="1467" dirty="0">
                <a:latin typeface="Arial" panose="020B0604020202020204" pitchFamily="34" charset="0"/>
                <a:cs typeface="Arial" panose="020B0604020202020204" pitchFamily="34" charset="0"/>
              </a:rPr>
              <a:t>is a </a:t>
            </a:r>
            <a:r>
              <a:rPr lang="en-US" sz="1467" b="1" dirty="0">
                <a:latin typeface="Arial" panose="020B0604020202020204" pitchFamily="34" charset="0"/>
                <a:cs typeface="Arial" panose="020B0604020202020204" pitchFamily="34" charset="0"/>
              </a:rPr>
              <a:t>software-based</a:t>
            </a:r>
            <a:r>
              <a:rPr lang="en-US" sz="1467" dirty="0">
                <a:latin typeface="Arial" panose="020B0604020202020204" pitchFamily="34" charset="0"/>
                <a:cs typeface="Arial" panose="020B0604020202020204" pitchFamily="34" charset="0"/>
              </a:rPr>
              <a:t> engineering discipline which involves </a:t>
            </a:r>
            <a:r>
              <a:rPr lang="en-US" sz="1467" b="1" dirty="0">
                <a:latin typeface="Arial" panose="020B0604020202020204" pitchFamily="34" charset="0"/>
                <a:cs typeface="Arial" panose="020B0604020202020204" pitchFamily="34" charset="0"/>
              </a:rPr>
              <a:t>modelling</a:t>
            </a:r>
            <a:r>
              <a:rPr lang="en-US" sz="1467" dirty="0">
                <a:latin typeface="Arial" panose="020B0604020202020204" pitchFamily="34" charset="0"/>
                <a:cs typeface="Arial" panose="020B0604020202020204" pitchFamily="34" charset="0"/>
              </a:rPr>
              <a:t> a system, </a:t>
            </a:r>
            <a:r>
              <a:rPr lang="en-US" sz="1467" b="1" dirty="0">
                <a:latin typeface="Arial" panose="020B0604020202020204" pitchFamily="34" charset="0"/>
                <a:cs typeface="Arial" panose="020B0604020202020204" pitchFamily="34" charset="0"/>
              </a:rPr>
              <a:t>simulating</a:t>
            </a:r>
            <a:r>
              <a:rPr lang="en-US" sz="1467" dirty="0">
                <a:latin typeface="Arial" panose="020B0604020202020204" pitchFamily="34" charset="0"/>
                <a:cs typeface="Arial" panose="020B0604020202020204" pitchFamily="34" charset="0"/>
              </a:rPr>
              <a:t> and </a:t>
            </a:r>
            <a:r>
              <a:rPr lang="en-US" sz="1467" b="1" dirty="0">
                <a:latin typeface="Arial" panose="020B0604020202020204" pitchFamily="34" charset="0"/>
                <a:cs typeface="Arial" panose="020B0604020202020204" pitchFamily="34" charset="0"/>
              </a:rPr>
              <a:t>visualizing</a:t>
            </a:r>
            <a:r>
              <a:rPr lang="en-US" sz="1467" dirty="0">
                <a:latin typeface="Arial" panose="020B0604020202020204" pitchFamily="34" charset="0"/>
                <a:cs typeface="Arial" panose="020B0604020202020204" pitchFamily="34" charset="0"/>
              </a:rPr>
              <a:t> its behavior under real-world operating conditions, and refining its design through an iterative process.</a:t>
            </a:r>
          </a:p>
          <a:p>
            <a:pPr marL="0" indent="0">
              <a:lnSpc>
                <a:spcPct val="110000"/>
              </a:lnSpc>
              <a:buNone/>
            </a:pPr>
            <a:endParaRPr lang="en-US" sz="2000" dirty="0">
              <a:latin typeface="Arial" panose="020B0604020202020204" pitchFamily="34" charset="0"/>
              <a:cs typeface="Arial" panose="020B0604020202020204" pitchFamily="34" charset="0"/>
            </a:endParaRPr>
          </a:p>
          <a:p>
            <a:pPr>
              <a:lnSpc>
                <a:spcPct val="110000"/>
              </a:lnSpc>
              <a:buFont typeface="Wingdings" panose="05000000000000000000" pitchFamily="2" charset="2"/>
              <a:buChar char="§"/>
            </a:pPr>
            <a:endParaRPr lang="en-US" sz="1900" dirty="0">
              <a:latin typeface="Arial" panose="020B0604020202020204" pitchFamily="34" charset="0"/>
              <a:cs typeface="Arial" panose="020B0604020202020204" pitchFamily="34" charset="0"/>
            </a:endParaRPr>
          </a:p>
          <a:p>
            <a:pPr>
              <a:lnSpc>
                <a:spcPct val="110000"/>
              </a:lnSpc>
              <a:buFont typeface="Wingdings" panose="05000000000000000000" pitchFamily="2" charset="2"/>
              <a:buChar char="§"/>
            </a:pPr>
            <a:endParaRPr lang="en-US" sz="1900" dirty="0">
              <a:latin typeface="Arial" panose="020B0604020202020204" pitchFamily="34" charset="0"/>
              <a:cs typeface="Arial" panose="020B0604020202020204" pitchFamily="34" charset="0"/>
            </a:endParaRPr>
          </a:p>
          <a:p>
            <a:pPr marL="0" indent="0">
              <a:buNone/>
            </a:pPr>
            <a:endParaRPr lang="en-US" sz="1800" dirty="0"/>
          </a:p>
        </p:txBody>
      </p:sp>
      <p:sp>
        <p:nvSpPr>
          <p:cNvPr id="3" name="AutoShape 2">
            <a:extLst>
              <a:ext uri="{FF2B5EF4-FFF2-40B4-BE49-F238E27FC236}">
                <a16:creationId xmlns:a16="http://schemas.microsoft.com/office/drawing/2014/main" id="{B085D364-8EB2-4AE7-AC68-77E099C4EEB8}"/>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pic>
        <p:nvPicPr>
          <p:cNvPr id="5" name="Picture 4">
            <a:extLst>
              <a:ext uri="{FF2B5EF4-FFF2-40B4-BE49-F238E27FC236}">
                <a16:creationId xmlns:a16="http://schemas.microsoft.com/office/drawing/2014/main" id="{0BD365AD-BD56-46BC-B891-759860B17028}"/>
              </a:ext>
            </a:extLst>
          </p:cNvPr>
          <p:cNvPicPr>
            <a:picLocks noChangeAspect="1"/>
          </p:cNvPicPr>
          <p:nvPr/>
        </p:nvPicPr>
        <p:blipFill>
          <a:blip r:embed="rId7"/>
          <a:stretch>
            <a:fillRect/>
          </a:stretch>
        </p:blipFill>
        <p:spPr>
          <a:xfrm>
            <a:off x="3433249" y="2255287"/>
            <a:ext cx="5630302" cy="4230590"/>
          </a:xfrm>
          <a:prstGeom prst="rect">
            <a:avLst/>
          </a:prstGeom>
        </p:spPr>
      </p:pic>
    </p:spTree>
    <p:extLst>
      <p:ext uri="{BB962C8B-B14F-4D97-AF65-F5344CB8AC3E}">
        <p14:creationId xmlns:p14="http://schemas.microsoft.com/office/powerpoint/2010/main" val="12198442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2" name="Object 41" hidden="1">
            <a:extLst>
              <a:ext uri="{FF2B5EF4-FFF2-40B4-BE49-F238E27FC236}">
                <a16:creationId xmlns:a16="http://schemas.microsoft.com/office/drawing/2014/main" id="{301463C9-2282-4A0F-819B-75374BE71C9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42" name="Object 41" hidden="1">
                        <a:extLst>
                          <a:ext uri="{FF2B5EF4-FFF2-40B4-BE49-F238E27FC236}">
                            <a16:creationId xmlns:a16="http://schemas.microsoft.com/office/drawing/2014/main" id="{301463C9-2282-4A0F-819B-75374BE71C9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6" name="Rectangle 45" hidden="1">
            <a:extLst>
              <a:ext uri="{FF2B5EF4-FFF2-40B4-BE49-F238E27FC236}">
                <a16:creationId xmlns:a16="http://schemas.microsoft.com/office/drawing/2014/main" id="{CADF9BBE-ADA6-4A36-A7C9-EC1296DE314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dirty="0">
              <a:latin typeface="Arial" panose="020B0604020202020204" pitchFamily="34" charset="0"/>
              <a:ea typeface="+mj-ea"/>
              <a:cs typeface="Arial" panose="020B0604020202020204" pitchFamily="34" charset="0"/>
              <a:sym typeface="Arial" panose="020B0604020202020204" pitchFamily="34" charset="0"/>
            </a:endParaRPr>
          </a:p>
        </p:txBody>
      </p:sp>
      <p:cxnSp>
        <p:nvCxnSpPr>
          <p:cNvPr id="43" name="Straight Connector 17">
            <a:extLst>
              <a:ext uri="{FF2B5EF4-FFF2-40B4-BE49-F238E27FC236}">
                <a16:creationId xmlns:a16="http://schemas.microsoft.com/office/drawing/2014/main" id="{D619BC49-E4EF-4BC0-B474-609F75846915}"/>
              </a:ext>
            </a:extLst>
          </p:cNvPr>
          <p:cNvCxnSpPr>
            <a:cxnSpLocks/>
          </p:cNvCxnSpPr>
          <p:nvPr/>
        </p:nvCxnSpPr>
        <p:spPr>
          <a:xfrm>
            <a:off x="1659750" y="1181906"/>
            <a:ext cx="997751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5" name="Titel 1">
            <a:extLst>
              <a:ext uri="{FF2B5EF4-FFF2-40B4-BE49-F238E27FC236}">
                <a16:creationId xmlns:a16="http://schemas.microsoft.com/office/drawing/2014/main" id="{ABE05CC7-87A9-4E18-AEA7-3CFE48FBF726}"/>
              </a:ext>
            </a:extLst>
          </p:cNvPr>
          <p:cNvSpPr>
            <a:spLocks noGrp="1"/>
          </p:cNvSpPr>
          <p:nvPr>
            <p:ph type="title"/>
          </p:nvPr>
        </p:nvSpPr>
        <p:spPr>
          <a:xfrm>
            <a:off x="1659750" y="372123"/>
            <a:ext cx="9977511" cy="677691"/>
          </a:xfrm>
        </p:spPr>
        <p:txBody>
          <a:bodyPr>
            <a:noAutofit/>
          </a:bodyPr>
          <a:lstStyle/>
          <a:p>
            <a:br>
              <a:rPr lang="nb-NO" sz="2400" dirty="0">
                <a:solidFill>
                  <a:srgbClr val="01509E"/>
                </a:solidFill>
              </a:rPr>
            </a:br>
            <a:r>
              <a:rPr lang="nb-NO" sz="2400" dirty="0">
                <a:solidFill>
                  <a:srgbClr val="01509E"/>
                </a:solidFill>
              </a:rPr>
              <a:t>Introduction</a:t>
            </a:r>
            <a:br>
              <a:rPr lang="nb-NO" sz="2400" dirty="0">
                <a:solidFill>
                  <a:srgbClr val="01509E"/>
                </a:solidFill>
              </a:rPr>
            </a:br>
            <a:r>
              <a:rPr lang="nb-NO" sz="2000" b="0" dirty="0" err="1">
                <a:solidFill>
                  <a:schemeClr val="bg1">
                    <a:lumMod val="50000"/>
                  </a:schemeClr>
                </a:solidFill>
              </a:rPr>
              <a:t>Introduction</a:t>
            </a:r>
            <a:r>
              <a:rPr lang="nb-NO" sz="2000" b="0" dirty="0">
                <a:solidFill>
                  <a:schemeClr val="bg1">
                    <a:lumMod val="50000"/>
                  </a:schemeClr>
                </a:solidFill>
              </a:rPr>
              <a:t> </a:t>
            </a:r>
            <a:r>
              <a:rPr lang="nb-NO" sz="2000" b="0" dirty="0" err="1">
                <a:solidFill>
                  <a:schemeClr val="bg1">
                    <a:lumMod val="50000"/>
                  </a:schemeClr>
                </a:solidFill>
              </a:rPr>
              <a:t>of</a:t>
            </a:r>
            <a:r>
              <a:rPr lang="nb-NO" sz="2000" b="0" dirty="0">
                <a:solidFill>
                  <a:schemeClr val="bg1">
                    <a:lumMod val="50000"/>
                  </a:schemeClr>
                </a:solidFill>
              </a:rPr>
              <a:t> VP</a:t>
            </a:r>
            <a:br>
              <a:rPr lang="en-US" sz="2400" dirty="0">
                <a:latin typeface="Arial" panose="020B0604020202020204" pitchFamily="34" charset="0"/>
                <a:cs typeface="Arial" panose="020B0604020202020204" pitchFamily="34" charset="0"/>
              </a:rPr>
            </a:br>
            <a:endParaRPr lang="en-US" sz="2400" b="0" dirty="0">
              <a:latin typeface="Arial" panose="020B0604020202020204" pitchFamily="34" charset="0"/>
              <a:cs typeface="Arial" panose="020B0604020202020204" pitchFamily="34" charset="0"/>
            </a:endParaRPr>
          </a:p>
        </p:txBody>
      </p:sp>
      <p:sp>
        <p:nvSpPr>
          <p:cNvPr id="7" name="Plassholder for innhold 2">
            <a:extLst>
              <a:ext uri="{FF2B5EF4-FFF2-40B4-BE49-F238E27FC236}">
                <a16:creationId xmlns:a16="http://schemas.microsoft.com/office/drawing/2014/main" id="{63991A79-2DF5-4987-8986-F8B6237BF2C9}"/>
              </a:ext>
            </a:extLst>
          </p:cNvPr>
          <p:cNvSpPr>
            <a:spLocks noGrp="1"/>
          </p:cNvSpPr>
          <p:nvPr>
            <p:ph idx="1"/>
          </p:nvPr>
        </p:nvSpPr>
        <p:spPr>
          <a:xfrm>
            <a:off x="1659748" y="1181905"/>
            <a:ext cx="10309095" cy="4884155"/>
          </a:xfrm>
        </p:spPr>
        <p:txBody>
          <a:bodyPr>
            <a:normAutofit/>
          </a:bodyPr>
          <a:lstStyle/>
          <a:p>
            <a:pPr>
              <a:lnSpc>
                <a:spcPct val="110000"/>
              </a:lnSpc>
              <a:buFont typeface="Wingdings" panose="05000000000000000000" pitchFamily="2" charset="2"/>
              <a:buChar char="§"/>
            </a:pPr>
            <a:r>
              <a:rPr lang="en-US" sz="2000" dirty="0">
                <a:latin typeface="Arial" panose="020B0604020202020204" pitchFamily="34" charset="0"/>
                <a:cs typeface="Arial" panose="020B0604020202020204" pitchFamily="34" charset="0"/>
              </a:rPr>
              <a:t>VP allows:</a:t>
            </a:r>
          </a:p>
          <a:p>
            <a:pPr lvl="1">
              <a:lnSpc>
                <a:spcPct val="110000"/>
              </a:lnSpc>
              <a:buFont typeface="Wingdings" panose="05000000000000000000" pitchFamily="2" charset="2"/>
              <a:buChar char="§"/>
            </a:pPr>
            <a:r>
              <a:rPr lang="en-US" sz="1467" dirty="0">
                <a:latin typeface="Arial" panose="020B0604020202020204" pitchFamily="34" charset="0"/>
                <a:cs typeface="Arial" panose="020B0604020202020204" pitchFamily="34" charset="0"/>
              </a:rPr>
              <a:t>engineering teams to build and test virtual prototypes </a:t>
            </a:r>
            <a:r>
              <a:rPr lang="en-US" altLang="zh-CN" sz="1467" dirty="0">
                <a:latin typeface="Arial" panose="020B0604020202020204" pitchFamily="34" charset="0"/>
                <a:cs typeface="Arial" panose="020B0604020202020204" pitchFamily="34" charset="0"/>
              </a:rPr>
              <a:t>and </a:t>
            </a:r>
            <a:r>
              <a:rPr lang="en-US" sz="1467" dirty="0">
                <a:latin typeface="Arial" panose="020B0604020202020204" pitchFamily="34" charset="0"/>
                <a:cs typeface="Arial" panose="020B0604020202020204" pitchFamily="34" charset="0"/>
              </a:rPr>
              <a:t>realistically simulate them on their computers.</a:t>
            </a:r>
          </a:p>
          <a:p>
            <a:pPr lvl="1">
              <a:lnSpc>
                <a:spcPct val="110000"/>
              </a:lnSpc>
              <a:buFont typeface="Wingdings" panose="05000000000000000000" pitchFamily="2" charset="2"/>
              <a:buChar char="§"/>
            </a:pPr>
            <a:r>
              <a:rPr lang="en-US" sz="1467" dirty="0">
                <a:latin typeface="Arial" panose="020B0604020202020204" pitchFamily="34" charset="0"/>
                <a:cs typeface="Arial" panose="020B0604020202020204" pitchFamily="34" charset="0"/>
              </a:rPr>
              <a:t>the full-motion behavior of complex mechanical systems to be analyzed before building.</a:t>
            </a:r>
          </a:p>
          <a:p>
            <a:pPr lvl="1">
              <a:lnSpc>
                <a:spcPct val="110000"/>
              </a:lnSpc>
              <a:buFont typeface="Wingdings" panose="05000000000000000000" pitchFamily="2" charset="2"/>
              <a:buChar char="§"/>
            </a:pPr>
            <a:r>
              <a:rPr lang="en-US" sz="1467" dirty="0">
                <a:latin typeface="Arial" panose="020B0604020202020204" pitchFamily="34" charset="0"/>
                <a:cs typeface="Arial" panose="020B0604020202020204" pitchFamily="34" charset="0"/>
              </a:rPr>
              <a:t>test “what if” scenarios, users can quickly explore multiple design variations, testing and refining until system performance is optimized.</a:t>
            </a:r>
          </a:p>
          <a:p>
            <a:pPr lvl="1">
              <a:lnSpc>
                <a:spcPct val="110000"/>
              </a:lnSpc>
              <a:buFont typeface="Wingdings" panose="05000000000000000000" pitchFamily="2" charset="2"/>
              <a:buChar char="§"/>
            </a:pPr>
            <a:r>
              <a:rPr lang="en-US" sz="1467" dirty="0">
                <a:latin typeface="Arial" panose="020B0604020202020204" pitchFamily="34" charset="0"/>
                <a:cs typeface="Arial" panose="020B0604020202020204" pitchFamily="34" charset="0"/>
              </a:rPr>
              <a:t>communicate design ideas more clearly.</a:t>
            </a:r>
          </a:p>
          <a:p>
            <a:pPr lvl="1">
              <a:lnSpc>
                <a:spcPct val="110000"/>
              </a:lnSpc>
              <a:buFont typeface="Wingdings" panose="05000000000000000000" pitchFamily="2" charset="2"/>
              <a:buChar char="§"/>
            </a:pPr>
            <a:r>
              <a:rPr lang="en-US" sz="1467" dirty="0">
                <a:latin typeface="Arial" panose="020B0604020202020204" pitchFamily="34" charset="0"/>
                <a:cs typeface="Arial" panose="020B0604020202020204" pitchFamily="34" charset="0"/>
              </a:rPr>
              <a:t>shorten time to market.</a:t>
            </a:r>
          </a:p>
          <a:p>
            <a:pPr marL="0" indent="0">
              <a:lnSpc>
                <a:spcPct val="110000"/>
              </a:lnSpc>
              <a:buNone/>
            </a:pPr>
            <a:endParaRPr lang="en-US" sz="2000" dirty="0">
              <a:latin typeface="Arial" panose="020B0604020202020204" pitchFamily="34" charset="0"/>
              <a:cs typeface="Arial" panose="020B0604020202020204" pitchFamily="34" charset="0"/>
            </a:endParaRPr>
          </a:p>
          <a:p>
            <a:pPr>
              <a:lnSpc>
                <a:spcPct val="110000"/>
              </a:lnSpc>
              <a:buFont typeface="Wingdings" panose="05000000000000000000" pitchFamily="2" charset="2"/>
              <a:buChar char="§"/>
            </a:pPr>
            <a:endParaRPr lang="en-US" sz="1900" dirty="0">
              <a:latin typeface="Arial" panose="020B0604020202020204" pitchFamily="34" charset="0"/>
              <a:cs typeface="Arial" panose="020B0604020202020204" pitchFamily="34" charset="0"/>
            </a:endParaRPr>
          </a:p>
          <a:p>
            <a:pPr>
              <a:lnSpc>
                <a:spcPct val="110000"/>
              </a:lnSpc>
              <a:buFont typeface="Wingdings" panose="05000000000000000000" pitchFamily="2" charset="2"/>
              <a:buChar char="§"/>
            </a:pPr>
            <a:endParaRPr lang="en-US" sz="1900" dirty="0">
              <a:latin typeface="Arial" panose="020B0604020202020204" pitchFamily="34" charset="0"/>
              <a:cs typeface="Arial" panose="020B0604020202020204" pitchFamily="34" charset="0"/>
            </a:endParaRPr>
          </a:p>
          <a:p>
            <a:pPr marL="0" indent="0">
              <a:buNone/>
            </a:pPr>
            <a:endParaRPr lang="en-US" sz="1800" dirty="0"/>
          </a:p>
        </p:txBody>
      </p:sp>
      <p:sp>
        <p:nvSpPr>
          <p:cNvPr id="3" name="AutoShape 2">
            <a:extLst>
              <a:ext uri="{FF2B5EF4-FFF2-40B4-BE49-F238E27FC236}">
                <a16:creationId xmlns:a16="http://schemas.microsoft.com/office/drawing/2014/main" id="{B085D364-8EB2-4AE7-AC68-77E099C4EEB8}"/>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pic>
        <p:nvPicPr>
          <p:cNvPr id="9" name="Picture 2" descr="virtual prototyping">
            <a:extLst>
              <a:ext uri="{FF2B5EF4-FFF2-40B4-BE49-F238E27FC236}">
                <a16:creationId xmlns:a16="http://schemas.microsoft.com/office/drawing/2014/main" id="{80589BDE-126F-4384-82A4-A010DB68A12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63312" y="3568191"/>
            <a:ext cx="6045481" cy="2511079"/>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Innovations in Virtual Prototyping | Dena Technologies">
            <a:extLst>
              <a:ext uri="{FF2B5EF4-FFF2-40B4-BE49-F238E27FC236}">
                <a16:creationId xmlns:a16="http://schemas.microsoft.com/office/drawing/2014/main" id="{1D982F4E-9C37-483E-963E-AB7915A4ADD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861281" y="3905852"/>
            <a:ext cx="3855074" cy="196669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2949992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2" name="Object 41" hidden="1">
            <a:extLst>
              <a:ext uri="{FF2B5EF4-FFF2-40B4-BE49-F238E27FC236}">
                <a16:creationId xmlns:a16="http://schemas.microsoft.com/office/drawing/2014/main" id="{301463C9-2282-4A0F-819B-75374BE71C9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6" progId="TCLayout.ActiveDocument.1">
                  <p:embed/>
                </p:oleObj>
              </mc:Choice>
              <mc:Fallback>
                <p:oleObj name="think-cell Slide" r:id="rId6" imgW="395" imgH="396" progId="TCLayout.ActiveDocument.1">
                  <p:embed/>
                  <p:pic>
                    <p:nvPicPr>
                      <p:cNvPr id="42" name="Object 41" hidden="1">
                        <a:extLst>
                          <a:ext uri="{FF2B5EF4-FFF2-40B4-BE49-F238E27FC236}">
                            <a16:creationId xmlns:a16="http://schemas.microsoft.com/office/drawing/2014/main" id="{301463C9-2282-4A0F-819B-75374BE71C9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6" name="Rectangle 45" hidden="1">
            <a:extLst>
              <a:ext uri="{FF2B5EF4-FFF2-40B4-BE49-F238E27FC236}">
                <a16:creationId xmlns:a16="http://schemas.microsoft.com/office/drawing/2014/main" id="{CADF9BBE-ADA6-4A36-A7C9-EC1296DE314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dirty="0">
              <a:latin typeface="Arial" panose="020B0604020202020204" pitchFamily="34" charset="0"/>
              <a:ea typeface="+mj-ea"/>
              <a:cs typeface="Arial" panose="020B0604020202020204" pitchFamily="34" charset="0"/>
              <a:sym typeface="Arial" panose="020B0604020202020204" pitchFamily="34" charset="0"/>
            </a:endParaRPr>
          </a:p>
        </p:txBody>
      </p:sp>
      <p:cxnSp>
        <p:nvCxnSpPr>
          <p:cNvPr id="43" name="Straight Connector 17">
            <a:extLst>
              <a:ext uri="{FF2B5EF4-FFF2-40B4-BE49-F238E27FC236}">
                <a16:creationId xmlns:a16="http://schemas.microsoft.com/office/drawing/2014/main" id="{D619BC49-E4EF-4BC0-B474-609F75846915}"/>
              </a:ext>
            </a:extLst>
          </p:cNvPr>
          <p:cNvCxnSpPr>
            <a:cxnSpLocks/>
          </p:cNvCxnSpPr>
          <p:nvPr/>
        </p:nvCxnSpPr>
        <p:spPr>
          <a:xfrm>
            <a:off x="1659750" y="1181906"/>
            <a:ext cx="997751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5" name="Titel 1">
            <a:extLst>
              <a:ext uri="{FF2B5EF4-FFF2-40B4-BE49-F238E27FC236}">
                <a16:creationId xmlns:a16="http://schemas.microsoft.com/office/drawing/2014/main" id="{ABE05CC7-87A9-4E18-AEA7-3CFE48FBF726}"/>
              </a:ext>
            </a:extLst>
          </p:cNvPr>
          <p:cNvSpPr>
            <a:spLocks noGrp="1"/>
          </p:cNvSpPr>
          <p:nvPr>
            <p:ph type="title"/>
          </p:nvPr>
        </p:nvSpPr>
        <p:spPr>
          <a:xfrm>
            <a:off x="1659750" y="372123"/>
            <a:ext cx="9977511" cy="677691"/>
          </a:xfrm>
        </p:spPr>
        <p:txBody>
          <a:bodyPr>
            <a:noAutofit/>
          </a:bodyPr>
          <a:lstStyle/>
          <a:p>
            <a:br>
              <a:rPr lang="nb-NO" sz="2400" dirty="0">
                <a:solidFill>
                  <a:srgbClr val="01509E"/>
                </a:solidFill>
              </a:rPr>
            </a:br>
            <a:r>
              <a:rPr lang="nb-NO" sz="2400" dirty="0">
                <a:solidFill>
                  <a:srgbClr val="01509E"/>
                </a:solidFill>
              </a:rPr>
              <a:t>Introduction</a:t>
            </a:r>
            <a:br>
              <a:rPr lang="nb-NO" sz="2400" dirty="0">
                <a:solidFill>
                  <a:srgbClr val="01509E"/>
                </a:solidFill>
              </a:rPr>
            </a:br>
            <a:r>
              <a:rPr lang="nb-NO" sz="2000" b="0" dirty="0" err="1">
                <a:solidFill>
                  <a:schemeClr val="bg1">
                    <a:lumMod val="50000"/>
                  </a:schemeClr>
                </a:solidFill>
              </a:rPr>
              <a:t>Introduction</a:t>
            </a:r>
            <a:r>
              <a:rPr lang="nb-NO" sz="2000" b="0" dirty="0">
                <a:solidFill>
                  <a:schemeClr val="bg1">
                    <a:lumMod val="50000"/>
                  </a:schemeClr>
                </a:solidFill>
              </a:rPr>
              <a:t> </a:t>
            </a:r>
            <a:r>
              <a:rPr lang="nb-NO" sz="2000" b="0" dirty="0" err="1">
                <a:solidFill>
                  <a:schemeClr val="bg1">
                    <a:lumMod val="50000"/>
                  </a:schemeClr>
                </a:solidFill>
              </a:rPr>
              <a:t>of</a:t>
            </a:r>
            <a:r>
              <a:rPr lang="nb-NO" sz="2000" b="0" dirty="0">
                <a:solidFill>
                  <a:schemeClr val="bg1">
                    <a:lumMod val="50000"/>
                  </a:schemeClr>
                </a:solidFill>
              </a:rPr>
              <a:t> VP</a:t>
            </a:r>
            <a:br>
              <a:rPr lang="en-US" sz="2400" dirty="0">
                <a:latin typeface="Arial" panose="020B0604020202020204" pitchFamily="34" charset="0"/>
                <a:cs typeface="Arial" panose="020B0604020202020204" pitchFamily="34" charset="0"/>
              </a:rPr>
            </a:br>
            <a:endParaRPr lang="en-US" sz="2400" b="0" dirty="0">
              <a:latin typeface="Arial" panose="020B0604020202020204" pitchFamily="34" charset="0"/>
              <a:cs typeface="Arial" panose="020B0604020202020204" pitchFamily="34" charset="0"/>
            </a:endParaRPr>
          </a:p>
        </p:txBody>
      </p:sp>
      <p:sp>
        <p:nvSpPr>
          <p:cNvPr id="7" name="Plassholder for innhold 2">
            <a:extLst>
              <a:ext uri="{FF2B5EF4-FFF2-40B4-BE49-F238E27FC236}">
                <a16:creationId xmlns:a16="http://schemas.microsoft.com/office/drawing/2014/main" id="{63991A79-2DF5-4987-8986-F8B6237BF2C9}"/>
              </a:ext>
            </a:extLst>
          </p:cNvPr>
          <p:cNvSpPr>
            <a:spLocks noGrp="1"/>
          </p:cNvSpPr>
          <p:nvPr>
            <p:ph idx="1"/>
          </p:nvPr>
        </p:nvSpPr>
        <p:spPr>
          <a:xfrm>
            <a:off x="1659748" y="1181905"/>
            <a:ext cx="10309095" cy="4884155"/>
          </a:xfrm>
        </p:spPr>
        <p:txBody>
          <a:bodyPr>
            <a:normAutofit/>
          </a:bodyPr>
          <a:lstStyle/>
          <a:p>
            <a:pPr>
              <a:lnSpc>
                <a:spcPct val="110000"/>
              </a:lnSpc>
              <a:buFont typeface="Wingdings" panose="05000000000000000000" pitchFamily="2" charset="2"/>
              <a:buChar char="§"/>
            </a:pPr>
            <a:r>
              <a:rPr lang="en-US" sz="2000" dirty="0">
                <a:latin typeface="Arial" panose="020B0604020202020204" pitchFamily="34" charset="0"/>
                <a:cs typeface="Arial" panose="020B0604020202020204" pitchFamily="34" charset="0"/>
              </a:rPr>
              <a:t>Industries using VP include automotive, shipbuilding, aerospace, oil &amp; gas, transport and </a:t>
            </a:r>
            <a:r>
              <a:rPr lang="en-US" sz="2000" dirty="0" err="1">
                <a:latin typeface="Arial" panose="020B0604020202020204" pitchFamily="34" charset="0"/>
                <a:cs typeface="Arial" panose="020B0604020202020204" pitchFamily="34" charset="0"/>
              </a:rPr>
              <a:t>defence</a:t>
            </a:r>
            <a:r>
              <a:rPr lang="en-US" sz="2000" dirty="0">
                <a:latin typeface="Arial" panose="020B0604020202020204" pitchFamily="34" charset="0"/>
                <a:cs typeface="Arial" panose="020B0604020202020204" pitchFamily="34" charset="0"/>
              </a:rPr>
              <a:t>.</a:t>
            </a:r>
          </a:p>
          <a:p>
            <a:pPr marL="0" indent="0">
              <a:lnSpc>
                <a:spcPct val="110000"/>
              </a:lnSpc>
              <a:buNone/>
            </a:pPr>
            <a:endParaRPr lang="en-US" sz="2000" dirty="0">
              <a:latin typeface="Arial" panose="020B0604020202020204" pitchFamily="34" charset="0"/>
              <a:cs typeface="Arial" panose="020B0604020202020204" pitchFamily="34" charset="0"/>
            </a:endParaRPr>
          </a:p>
          <a:p>
            <a:pPr>
              <a:lnSpc>
                <a:spcPct val="110000"/>
              </a:lnSpc>
              <a:buFont typeface="Wingdings" panose="05000000000000000000" pitchFamily="2" charset="2"/>
              <a:buChar char="§"/>
            </a:pPr>
            <a:endParaRPr lang="en-US" sz="1900" dirty="0">
              <a:latin typeface="Arial" panose="020B0604020202020204" pitchFamily="34" charset="0"/>
              <a:cs typeface="Arial" panose="020B0604020202020204" pitchFamily="34" charset="0"/>
            </a:endParaRPr>
          </a:p>
          <a:p>
            <a:pPr>
              <a:lnSpc>
                <a:spcPct val="110000"/>
              </a:lnSpc>
              <a:buFont typeface="Wingdings" panose="05000000000000000000" pitchFamily="2" charset="2"/>
              <a:buChar char="§"/>
            </a:pPr>
            <a:endParaRPr lang="en-US" sz="1900" dirty="0">
              <a:latin typeface="Arial" panose="020B0604020202020204" pitchFamily="34" charset="0"/>
              <a:cs typeface="Arial" panose="020B0604020202020204" pitchFamily="34" charset="0"/>
            </a:endParaRPr>
          </a:p>
          <a:p>
            <a:pPr marL="0" indent="0">
              <a:buNone/>
            </a:pPr>
            <a:endParaRPr lang="en-US" sz="1800" dirty="0"/>
          </a:p>
        </p:txBody>
      </p:sp>
      <p:sp>
        <p:nvSpPr>
          <p:cNvPr id="3" name="AutoShape 2">
            <a:extLst>
              <a:ext uri="{FF2B5EF4-FFF2-40B4-BE49-F238E27FC236}">
                <a16:creationId xmlns:a16="http://schemas.microsoft.com/office/drawing/2014/main" id="{B085D364-8EB2-4AE7-AC68-77E099C4EEB8}"/>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pic>
        <p:nvPicPr>
          <p:cNvPr id="2" name="Online Media 1" title="Ford demonstrates virtual prototyping in Immersive Vehicle Environment">
            <a:hlinkClick r:id="" action="ppaction://media"/>
            <a:extLst>
              <a:ext uri="{FF2B5EF4-FFF2-40B4-BE49-F238E27FC236}">
                <a16:creationId xmlns:a16="http://schemas.microsoft.com/office/drawing/2014/main" id="{1EB7FB56-66C8-4666-B64D-ED9A763D37FE}"/>
              </a:ext>
            </a:extLst>
          </p:cNvPr>
          <p:cNvPicPr>
            <a:picLocks noRot="1" noChangeAspect="1"/>
          </p:cNvPicPr>
          <p:nvPr>
            <a:videoFile r:link="rId3"/>
          </p:nvPr>
        </p:nvPicPr>
        <p:blipFill>
          <a:blip r:embed="rId8"/>
          <a:stretch>
            <a:fillRect/>
          </a:stretch>
        </p:blipFill>
        <p:spPr>
          <a:xfrm>
            <a:off x="3329571" y="2146975"/>
            <a:ext cx="6424030" cy="3629578"/>
          </a:xfrm>
          <a:prstGeom prst="rect">
            <a:avLst/>
          </a:prstGeom>
        </p:spPr>
      </p:pic>
      <p:sp>
        <p:nvSpPr>
          <p:cNvPr id="10" name="TextBox 9">
            <a:extLst>
              <a:ext uri="{FF2B5EF4-FFF2-40B4-BE49-F238E27FC236}">
                <a16:creationId xmlns:a16="http://schemas.microsoft.com/office/drawing/2014/main" id="{BDE9D6E4-3217-4460-9C82-5AE3636DA4A4}"/>
              </a:ext>
            </a:extLst>
          </p:cNvPr>
          <p:cNvSpPr txBox="1"/>
          <p:nvPr/>
        </p:nvSpPr>
        <p:spPr>
          <a:xfrm>
            <a:off x="4282761" y="5896784"/>
            <a:ext cx="5648638" cy="338554"/>
          </a:xfrm>
          <a:prstGeom prst="rect">
            <a:avLst/>
          </a:prstGeom>
          <a:noFill/>
        </p:spPr>
        <p:txBody>
          <a:bodyPr wrap="square" rtlCol="0">
            <a:spAutoFit/>
          </a:bodyPr>
          <a:lstStyle/>
          <a:p>
            <a:r>
              <a:rPr lang="en-US" sz="1600" dirty="0"/>
              <a:t>Virtual prototyping in immersive vehicle environment.</a:t>
            </a:r>
          </a:p>
        </p:txBody>
      </p:sp>
    </p:spTree>
    <p:extLst>
      <p:ext uri="{BB962C8B-B14F-4D97-AF65-F5344CB8AC3E}">
        <p14:creationId xmlns:p14="http://schemas.microsoft.com/office/powerpoint/2010/main" val="9719241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2" name="Object 41" hidden="1">
            <a:extLst>
              <a:ext uri="{FF2B5EF4-FFF2-40B4-BE49-F238E27FC236}">
                <a16:creationId xmlns:a16="http://schemas.microsoft.com/office/drawing/2014/main" id="{301463C9-2282-4A0F-819B-75374BE71C9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6" progId="TCLayout.ActiveDocument.1">
                  <p:embed/>
                </p:oleObj>
              </mc:Choice>
              <mc:Fallback>
                <p:oleObj name="think-cell Slide" r:id="rId6" imgW="395" imgH="396" progId="TCLayout.ActiveDocument.1">
                  <p:embed/>
                  <p:pic>
                    <p:nvPicPr>
                      <p:cNvPr id="42" name="Object 41" hidden="1">
                        <a:extLst>
                          <a:ext uri="{FF2B5EF4-FFF2-40B4-BE49-F238E27FC236}">
                            <a16:creationId xmlns:a16="http://schemas.microsoft.com/office/drawing/2014/main" id="{301463C9-2282-4A0F-819B-75374BE71C9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6" name="Rectangle 45" hidden="1">
            <a:extLst>
              <a:ext uri="{FF2B5EF4-FFF2-40B4-BE49-F238E27FC236}">
                <a16:creationId xmlns:a16="http://schemas.microsoft.com/office/drawing/2014/main" id="{CADF9BBE-ADA6-4A36-A7C9-EC1296DE314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dirty="0">
              <a:latin typeface="Arial" panose="020B0604020202020204" pitchFamily="34" charset="0"/>
              <a:ea typeface="+mj-ea"/>
              <a:cs typeface="Arial" panose="020B0604020202020204" pitchFamily="34" charset="0"/>
              <a:sym typeface="Arial" panose="020B0604020202020204" pitchFamily="34" charset="0"/>
            </a:endParaRPr>
          </a:p>
        </p:txBody>
      </p:sp>
      <p:cxnSp>
        <p:nvCxnSpPr>
          <p:cNvPr id="43" name="Straight Connector 17">
            <a:extLst>
              <a:ext uri="{FF2B5EF4-FFF2-40B4-BE49-F238E27FC236}">
                <a16:creationId xmlns:a16="http://schemas.microsoft.com/office/drawing/2014/main" id="{D619BC49-E4EF-4BC0-B474-609F75846915}"/>
              </a:ext>
            </a:extLst>
          </p:cNvPr>
          <p:cNvCxnSpPr>
            <a:cxnSpLocks/>
          </p:cNvCxnSpPr>
          <p:nvPr/>
        </p:nvCxnSpPr>
        <p:spPr>
          <a:xfrm>
            <a:off x="1659750" y="1181906"/>
            <a:ext cx="997751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 name="Plassholder for innhold 2">
            <a:extLst>
              <a:ext uri="{FF2B5EF4-FFF2-40B4-BE49-F238E27FC236}">
                <a16:creationId xmlns:a16="http://schemas.microsoft.com/office/drawing/2014/main" id="{63991A79-2DF5-4987-8986-F8B6237BF2C9}"/>
              </a:ext>
            </a:extLst>
          </p:cNvPr>
          <p:cNvSpPr>
            <a:spLocks noGrp="1"/>
          </p:cNvSpPr>
          <p:nvPr>
            <p:ph idx="1"/>
          </p:nvPr>
        </p:nvSpPr>
        <p:spPr>
          <a:xfrm>
            <a:off x="1659748" y="1181905"/>
            <a:ext cx="10309095" cy="4884155"/>
          </a:xfrm>
        </p:spPr>
        <p:txBody>
          <a:bodyPr>
            <a:normAutofit/>
          </a:bodyPr>
          <a:lstStyle/>
          <a:p>
            <a:pPr>
              <a:lnSpc>
                <a:spcPct val="110000"/>
              </a:lnSpc>
              <a:buFont typeface="Wingdings" panose="05000000000000000000" pitchFamily="2" charset="2"/>
              <a:buChar char="§"/>
            </a:pPr>
            <a:r>
              <a:rPr lang="en-US" sz="2000" dirty="0">
                <a:latin typeface="Arial" panose="020B0604020202020204" pitchFamily="34" charset="0"/>
                <a:cs typeface="Arial" panose="020B0604020202020204" pitchFamily="34" charset="0"/>
              </a:rPr>
              <a:t>Virtual prototyping of marine engineerin</a:t>
            </a:r>
            <a:r>
              <a:rPr lang="en-US" altLang="zh-CN" sz="2000" dirty="0">
                <a:latin typeface="Arial" panose="020B0604020202020204" pitchFamily="34" charset="0"/>
                <a:cs typeface="Arial" panose="020B0604020202020204" pitchFamily="34" charset="0"/>
              </a:rPr>
              <a:t>g through the marine life cycle. </a:t>
            </a:r>
          </a:p>
          <a:p>
            <a:pPr>
              <a:lnSpc>
                <a:spcPct val="110000"/>
              </a:lnSpc>
              <a:buFont typeface="Wingdings" panose="05000000000000000000" pitchFamily="2" charset="2"/>
              <a:buChar char="§"/>
            </a:pPr>
            <a:r>
              <a:rPr lang="en-US" sz="2000" dirty="0">
                <a:latin typeface="Arial" panose="020B0604020202020204" pitchFamily="34" charset="0"/>
                <a:cs typeface="Arial" panose="020B0604020202020204" pitchFamily="34" charset="0"/>
              </a:rPr>
              <a:t>In offshore operations, VPs find usages in design, proof of concept for new equipment or method, control system testing, procedure planning, and expert crew training.</a:t>
            </a:r>
          </a:p>
          <a:p>
            <a:pPr>
              <a:lnSpc>
                <a:spcPct val="110000"/>
              </a:lnSpc>
              <a:buFont typeface="Wingdings" panose="05000000000000000000" pitchFamily="2" charset="2"/>
              <a:buChar char="§"/>
            </a:pPr>
            <a:r>
              <a:rPr lang="en-US" altLang="zh-CN" sz="2000" dirty="0">
                <a:latin typeface="Arial" panose="020B0604020202020204" pitchFamily="34" charset="0"/>
                <a:cs typeface="Arial" panose="020B0604020202020204" pitchFamily="34" charset="0"/>
                <a:hlinkClick r:id="rId8"/>
              </a:rPr>
              <a:t>Examples</a:t>
            </a:r>
            <a:r>
              <a:rPr lang="en-US" altLang="zh-CN" sz="2000" dirty="0">
                <a:latin typeface="Arial" panose="020B0604020202020204" pitchFamily="34" charset="0"/>
                <a:cs typeface="Arial" panose="020B0604020202020204" pitchFamily="34" charset="0"/>
              </a:rPr>
              <a:t> are:</a:t>
            </a:r>
          </a:p>
          <a:p>
            <a:pPr lvl="1">
              <a:lnSpc>
                <a:spcPct val="110000"/>
              </a:lnSpc>
              <a:buFont typeface="Wingdings" panose="05000000000000000000" pitchFamily="2" charset="2"/>
              <a:buChar char="§"/>
            </a:pPr>
            <a:r>
              <a:rPr lang="en-US" sz="1467" dirty="0">
                <a:latin typeface="Arial" panose="020B0604020202020204" pitchFamily="34" charset="0"/>
                <a:cs typeface="Arial" panose="020B0604020202020204" pitchFamily="34" charset="0"/>
              </a:rPr>
              <a:t>Offshore Infrastructure</a:t>
            </a:r>
          </a:p>
          <a:p>
            <a:pPr lvl="1">
              <a:lnSpc>
                <a:spcPct val="110000"/>
              </a:lnSpc>
              <a:buFont typeface="Wingdings" panose="05000000000000000000" pitchFamily="2" charset="2"/>
              <a:buChar char="§"/>
            </a:pPr>
            <a:r>
              <a:rPr lang="en-US" sz="1467" dirty="0">
                <a:latin typeface="Arial" panose="020B0604020202020204" pitchFamily="34" charset="0"/>
                <a:cs typeface="Arial" panose="020B0604020202020204" pitchFamily="34" charset="0"/>
              </a:rPr>
              <a:t>Shipping and Port Logistics</a:t>
            </a:r>
          </a:p>
          <a:p>
            <a:pPr lvl="1">
              <a:lnSpc>
                <a:spcPct val="110000"/>
              </a:lnSpc>
              <a:buFont typeface="Wingdings" panose="05000000000000000000" pitchFamily="2" charset="2"/>
              <a:buChar char="§"/>
            </a:pPr>
            <a:r>
              <a:rPr lang="en-US" sz="1467" dirty="0">
                <a:latin typeface="Arial" panose="020B0604020202020204" pitchFamily="34" charset="0"/>
                <a:cs typeface="Arial" panose="020B0604020202020204" pitchFamily="34" charset="0"/>
              </a:rPr>
              <a:t>Town Planning</a:t>
            </a:r>
          </a:p>
          <a:p>
            <a:pPr lvl="1">
              <a:lnSpc>
                <a:spcPct val="110000"/>
              </a:lnSpc>
              <a:buFont typeface="Wingdings" panose="05000000000000000000" pitchFamily="2" charset="2"/>
              <a:buChar char="§"/>
            </a:pPr>
            <a:r>
              <a:rPr lang="en-US" sz="1467" dirty="0">
                <a:latin typeface="Arial" panose="020B0604020202020204" pitchFamily="34" charset="0"/>
                <a:cs typeface="Arial" panose="020B0604020202020204" pitchFamily="34" charset="0"/>
              </a:rPr>
              <a:t>Resource Industry</a:t>
            </a:r>
          </a:p>
          <a:p>
            <a:pPr lvl="1">
              <a:lnSpc>
                <a:spcPct val="110000"/>
              </a:lnSpc>
              <a:buFont typeface="Wingdings" panose="05000000000000000000" pitchFamily="2" charset="2"/>
              <a:buChar char="§"/>
            </a:pPr>
            <a:r>
              <a:rPr lang="en-US" sz="1467" dirty="0">
                <a:latin typeface="Arial" panose="020B0604020202020204" pitchFamily="34" charset="0"/>
                <a:cs typeface="Arial" panose="020B0604020202020204" pitchFamily="34" charset="0"/>
              </a:rPr>
              <a:t>Renewables</a:t>
            </a:r>
          </a:p>
          <a:p>
            <a:pPr>
              <a:lnSpc>
                <a:spcPct val="110000"/>
              </a:lnSpc>
              <a:buFont typeface="Wingdings" panose="05000000000000000000" pitchFamily="2" charset="2"/>
              <a:buChar char="§"/>
            </a:pPr>
            <a:endParaRPr lang="en-US" sz="2000" dirty="0">
              <a:latin typeface="Arial" panose="020B0604020202020204" pitchFamily="34" charset="0"/>
              <a:cs typeface="Arial" panose="020B0604020202020204" pitchFamily="34" charset="0"/>
            </a:endParaRPr>
          </a:p>
          <a:p>
            <a:pPr marL="0" indent="0">
              <a:lnSpc>
                <a:spcPct val="110000"/>
              </a:lnSpc>
              <a:buNone/>
            </a:pPr>
            <a:endParaRPr lang="en-US" sz="2000" dirty="0">
              <a:latin typeface="Arial" panose="020B0604020202020204" pitchFamily="34" charset="0"/>
              <a:cs typeface="Arial" panose="020B0604020202020204" pitchFamily="34" charset="0"/>
            </a:endParaRPr>
          </a:p>
          <a:p>
            <a:pPr>
              <a:lnSpc>
                <a:spcPct val="110000"/>
              </a:lnSpc>
              <a:buFont typeface="Wingdings" panose="05000000000000000000" pitchFamily="2" charset="2"/>
              <a:buChar char="§"/>
            </a:pPr>
            <a:endParaRPr lang="en-US" sz="1900" dirty="0">
              <a:latin typeface="Arial" panose="020B0604020202020204" pitchFamily="34" charset="0"/>
              <a:cs typeface="Arial" panose="020B0604020202020204" pitchFamily="34" charset="0"/>
            </a:endParaRPr>
          </a:p>
          <a:p>
            <a:pPr>
              <a:lnSpc>
                <a:spcPct val="110000"/>
              </a:lnSpc>
              <a:buFont typeface="Wingdings" panose="05000000000000000000" pitchFamily="2" charset="2"/>
              <a:buChar char="§"/>
            </a:pPr>
            <a:endParaRPr lang="en-US" sz="1900" dirty="0">
              <a:latin typeface="Arial" panose="020B0604020202020204" pitchFamily="34" charset="0"/>
              <a:cs typeface="Arial" panose="020B0604020202020204" pitchFamily="34" charset="0"/>
            </a:endParaRPr>
          </a:p>
          <a:p>
            <a:pPr marL="0" indent="0">
              <a:buNone/>
            </a:pPr>
            <a:endParaRPr lang="en-US" sz="1800" dirty="0"/>
          </a:p>
        </p:txBody>
      </p:sp>
      <p:sp>
        <p:nvSpPr>
          <p:cNvPr id="3" name="AutoShape 2">
            <a:extLst>
              <a:ext uri="{FF2B5EF4-FFF2-40B4-BE49-F238E27FC236}">
                <a16:creationId xmlns:a16="http://schemas.microsoft.com/office/drawing/2014/main" id="{B085D364-8EB2-4AE7-AC68-77E099C4EEB8}"/>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pic>
        <p:nvPicPr>
          <p:cNvPr id="8" name="Online Media 3" title="Offshore Simulator Centre - Simulator Conference Demo 2018">
            <a:hlinkClick r:id="" action="ppaction://media"/>
            <a:extLst>
              <a:ext uri="{FF2B5EF4-FFF2-40B4-BE49-F238E27FC236}">
                <a16:creationId xmlns:a16="http://schemas.microsoft.com/office/drawing/2014/main" id="{E2B83993-242C-4989-BDA0-5C47FD377F49}"/>
              </a:ext>
            </a:extLst>
          </p:cNvPr>
          <p:cNvPicPr>
            <a:picLocks noRot="1" noChangeAspect="1"/>
          </p:cNvPicPr>
          <p:nvPr>
            <a:videoFile r:link="rId3"/>
          </p:nvPr>
        </p:nvPicPr>
        <p:blipFill>
          <a:blip r:embed="rId9"/>
          <a:stretch>
            <a:fillRect/>
          </a:stretch>
        </p:blipFill>
        <p:spPr>
          <a:xfrm>
            <a:off x="5178643" y="2506135"/>
            <a:ext cx="6728353" cy="3801533"/>
          </a:xfrm>
          <a:prstGeom prst="rect">
            <a:avLst/>
          </a:prstGeom>
        </p:spPr>
      </p:pic>
      <p:sp>
        <p:nvSpPr>
          <p:cNvPr id="11" name="Titel 1">
            <a:extLst>
              <a:ext uri="{FF2B5EF4-FFF2-40B4-BE49-F238E27FC236}">
                <a16:creationId xmlns:a16="http://schemas.microsoft.com/office/drawing/2014/main" id="{4C6AF3D4-9E43-439A-8556-DF89949163FF}"/>
              </a:ext>
            </a:extLst>
          </p:cNvPr>
          <p:cNvSpPr txBox="1">
            <a:spLocks/>
          </p:cNvSpPr>
          <p:nvPr/>
        </p:nvSpPr>
        <p:spPr>
          <a:xfrm>
            <a:off x="1659750" y="372123"/>
            <a:ext cx="9977511" cy="677691"/>
          </a:xfrm>
          <a:prstGeom prst="rect">
            <a:avLst/>
          </a:prstGeom>
        </p:spPr>
        <p:txBody>
          <a:bodyPr vert="horz" lIns="91440" tIns="45720" rIns="91440" bIns="45720" rtlCol="0" anchor="ctr">
            <a:noAutofit/>
          </a:bodyPr>
          <a:lstStyle>
            <a:lvl1pPr algn="l" defTabSz="609585" rtl="0" eaLnBrk="1" latinLnBrk="0" hangingPunct="1">
              <a:spcBef>
                <a:spcPct val="0"/>
              </a:spcBef>
              <a:buNone/>
              <a:defRPr sz="4800" b="1" i="0" kern="1200">
                <a:solidFill>
                  <a:schemeClr val="tx1"/>
                </a:solidFill>
                <a:latin typeface="Arial"/>
                <a:ea typeface="+mj-ea"/>
                <a:cs typeface="Arial"/>
              </a:defRPr>
            </a:lvl1pPr>
          </a:lstStyle>
          <a:p>
            <a:br>
              <a:rPr lang="nb-NO" sz="3200" dirty="0">
                <a:solidFill>
                  <a:srgbClr val="01509E"/>
                </a:solidFill>
              </a:rPr>
            </a:br>
            <a:r>
              <a:rPr lang="nb-NO" sz="3200" dirty="0">
                <a:solidFill>
                  <a:srgbClr val="01509E"/>
                </a:solidFill>
              </a:rPr>
              <a:t>Application</a:t>
            </a:r>
            <a:br>
              <a:rPr lang="en-US" sz="3200" dirty="0">
                <a:latin typeface="Arial" panose="020B0604020202020204" pitchFamily="34" charset="0"/>
                <a:cs typeface="Arial" panose="020B0604020202020204" pitchFamily="34" charset="0"/>
              </a:rPr>
            </a:br>
            <a:endParaRPr lang="en-US" sz="3200" b="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190493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8"/>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8"/>
                                        </p:tgtEl>
                                      </p:cBhvr>
                                    </p:cmd>
                                  </p:childTnLst>
                                </p:cTn>
                              </p:par>
                            </p:childTnLst>
                          </p:cTn>
                        </p:par>
                      </p:childTnLst>
                    </p:cTn>
                  </p:par>
                </p:childTnLst>
              </p:cTn>
              <p:nextCondLst>
                <p:cond evt="onClick" delay="0">
                  <p:tgtEl>
                    <p:spTgt spid="8"/>
                  </p:tgtEl>
                </p:cond>
              </p:nextCondLst>
            </p:seq>
            <p:video>
              <p:cMediaNode vol="80000">
                <p:cTn id="12" fill="hold" display="0">
                  <p:stCondLst>
                    <p:cond delay="indefinite"/>
                  </p:stCondLst>
                </p:cTn>
                <p:tgtEl>
                  <p:spTgt spid="8"/>
                </p:tgtEl>
              </p:cMediaNode>
            </p:video>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2" name="Object 41" hidden="1">
            <a:extLst>
              <a:ext uri="{FF2B5EF4-FFF2-40B4-BE49-F238E27FC236}">
                <a16:creationId xmlns:a16="http://schemas.microsoft.com/office/drawing/2014/main" id="{301463C9-2282-4A0F-819B-75374BE71C9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42" name="Object 41" hidden="1">
                        <a:extLst>
                          <a:ext uri="{FF2B5EF4-FFF2-40B4-BE49-F238E27FC236}">
                            <a16:creationId xmlns:a16="http://schemas.microsoft.com/office/drawing/2014/main" id="{301463C9-2282-4A0F-819B-75374BE71C9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6" name="Rectangle 45" hidden="1">
            <a:extLst>
              <a:ext uri="{FF2B5EF4-FFF2-40B4-BE49-F238E27FC236}">
                <a16:creationId xmlns:a16="http://schemas.microsoft.com/office/drawing/2014/main" id="{CADF9BBE-ADA6-4A36-A7C9-EC1296DE314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dirty="0">
              <a:latin typeface="Arial" panose="020B0604020202020204" pitchFamily="34" charset="0"/>
              <a:ea typeface="+mj-ea"/>
              <a:cs typeface="Arial" panose="020B0604020202020204" pitchFamily="34" charset="0"/>
              <a:sym typeface="Arial" panose="020B0604020202020204" pitchFamily="34" charset="0"/>
            </a:endParaRPr>
          </a:p>
        </p:txBody>
      </p:sp>
      <p:cxnSp>
        <p:nvCxnSpPr>
          <p:cNvPr id="43" name="Straight Connector 17">
            <a:extLst>
              <a:ext uri="{FF2B5EF4-FFF2-40B4-BE49-F238E27FC236}">
                <a16:creationId xmlns:a16="http://schemas.microsoft.com/office/drawing/2014/main" id="{D619BC49-E4EF-4BC0-B474-609F75846915}"/>
              </a:ext>
            </a:extLst>
          </p:cNvPr>
          <p:cNvCxnSpPr>
            <a:cxnSpLocks/>
          </p:cNvCxnSpPr>
          <p:nvPr/>
        </p:nvCxnSpPr>
        <p:spPr>
          <a:xfrm>
            <a:off x="1659750" y="1181906"/>
            <a:ext cx="997751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5" name="Titel 1">
            <a:extLst>
              <a:ext uri="{FF2B5EF4-FFF2-40B4-BE49-F238E27FC236}">
                <a16:creationId xmlns:a16="http://schemas.microsoft.com/office/drawing/2014/main" id="{ABE05CC7-87A9-4E18-AEA7-3CFE48FBF726}"/>
              </a:ext>
            </a:extLst>
          </p:cNvPr>
          <p:cNvSpPr>
            <a:spLocks noGrp="1"/>
          </p:cNvSpPr>
          <p:nvPr>
            <p:ph type="title"/>
          </p:nvPr>
        </p:nvSpPr>
        <p:spPr>
          <a:xfrm>
            <a:off x="1659750" y="372123"/>
            <a:ext cx="9977511" cy="677691"/>
          </a:xfrm>
        </p:spPr>
        <p:txBody>
          <a:bodyPr>
            <a:noAutofit/>
          </a:bodyPr>
          <a:lstStyle/>
          <a:p>
            <a:br>
              <a:rPr lang="nb-NO" sz="2400" dirty="0">
                <a:solidFill>
                  <a:srgbClr val="01509E"/>
                </a:solidFill>
              </a:rPr>
            </a:br>
            <a:r>
              <a:rPr lang="nb-NO" sz="2400" dirty="0">
                <a:solidFill>
                  <a:srgbClr val="01509E"/>
                </a:solidFill>
              </a:rPr>
              <a:t>Introduction</a:t>
            </a:r>
            <a:br>
              <a:rPr lang="nb-NO" sz="2400" dirty="0">
                <a:solidFill>
                  <a:srgbClr val="01509E"/>
                </a:solidFill>
              </a:rPr>
            </a:br>
            <a:r>
              <a:rPr lang="nb-NO" sz="2000" b="0" dirty="0" err="1">
                <a:solidFill>
                  <a:schemeClr val="bg1">
                    <a:lumMod val="50000"/>
                  </a:schemeClr>
                </a:solidFill>
              </a:rPr>
              <a:t>What</a:t>
            </a:r>
            <a:r>
              <a:rPr lang="nb-NO" sz="2000" b="0" dirty="0">
                <a:solidFill>
                  <a:schemeClr val="bg1">
                    <a:lumMod val="50000"/>
                  </a:schemeClr>
                </a:solidFill>
              </a:rPr>
              <a:t> is it?</a:t>
            </a:r>
            <a:br>
              <a:rPr lang="en-US" sz="2400" dirty="0">
                <a:latin typeface="Arial" panose="020B0604020202020204" pitchFamily="34" charset="0"/>
                <a:cs typeface="Arial" panose="020B0604020202020204" pitchFamily="34" charset="0"/>
              </a:rPr>
            </a:br>
            <a:endParaRPr lang="en-US" sz="2400" b="0" dirty="0">
              <a:latin typeface="Arial" panose="020B0604020202020204" pitchFamily="34" charset="0"/>
              <a:cs typeface="Arial" panose="020B0604020202020204" pitchFamily="34" charset="0"/>
            </a:endParaRPr>
          </a:p>
        </p:txBody>
      </p:sp>
      <p:sp>
        <p:nvSpPr>
          <p:cNvPr id="7" name="Plassholder for innhold 2">
            <a:extLst>
              <a:ext uri="{FF2B5EF4-FFF2-40B4-BE49-F238E27FC236}">
                <a16:creationId xmlns:a16="http://schemas.microsoft.com/office/drawing/2014/main" id="{63991A79-2DF5-4987-8986-F8B6237BF2C9}"/>
              </a:ext>
            </a:extLst>
          </p:cNvPr>
          <p:cNvSpPr>
            <a:spLocks noGrp="1"/>
          </p:cNvSpPr>
          <p:nvPr>
            <p:ph idx="1"/>
          </p:nvPr>
        </p:nvSpPr>
        <p:spPr>
          <a:xfrm>
            <a:off x="1659748" y="1181905"/>
            <a:ext cx="10309095" cy="4884155"/>
          </a:xfrm>
        </p:spPr>
        <p:txBody>
          <a:bodyPr>
            <a:normAutofit/>
          </a:bodyPr>
          <a:lstStyle/>
          <a:p>
            <a:pPr>
              <a:lnSpc>
                <a:spcPct val="110000"/>
              </a:lnSpc>
              <a:buFont typeface="Wingdings" panose="05000000000000000000" pitchFamily="2" charset="2"/>
              <a:buChar char="§"/>
            </a:pPr>
            <a:r>
              <a:rPr lang="en-US" sz="2000" dirty="0">
                <a:latin typeface="Arial" panose="020B0604020202020204" pitchFamily="34" charset="0"/>
                <a:cs typeface="Arial" panose="020B0604020202020204" pitchFamily="34" charset="0"/>
              </a:rPr>
              <a:t>Digital twin:</a:t>
            </a:r>
          </a:p>
          <a:p>
            <a:pPr lvl="1">
              <a:lnSpc>
                <a:spcPct val="110000"/>
              </a:lnSpc>
              <a:buFont typeface="Wingdings" panose="05000000000000000000" pitchFamily="2" charset="2"/>
              <a:buChar char="§"/>
            </a:pPr>
            <a:r>
              <a:rPr lang="en-US" sz="1467" b="1" dirty="0">
                <a:latin typeface="Arial" panose="020B0604020202020204" pitchFamily="34" charset="0"/>
                <a:cs typeface="Arial" panose="020B0604020202020204" pitchFamily="34" charset="0"/>
              </a:rPr>
              <a:t>A Digital Twin (DT) is a virtual representation that serves as the real-time digital counterpart of a physical object or process. </a:t>
            </a:r>
          </a:p>
          <a:p>
            <a:pPr lvl="1">
              <a:lnSpc>
                <a:spcPct val="110000"/>
              </a:lnSpc>
              <a:buFont typeface="Wingdings" panose="05000000000000000000" pitchFamily="2" charset="2"/>
              <a:buChar char="§"/>
            </a:pPr>
            <a:r>
              <a:rPr lang="en-US" sz="1467" dirty="0">
                <a:latin typeface="Arial" panose="020B0604020202020204" pitchFamily="34" charset="0"/>
                <a:cs typeface="Arial" panose="020B0604020202020204" pitchFamily="34" charset="0"/>
              </a:rPr>
              <a:t>It is a digital or virtual copy of physical assets or products.</a:t>
            </a:r>
          </a:p>
          <a:p>
            <a:pPr lvl="1">
              <a:lnSpc>
                <a:spcPct val="110000"/>
              </a:lnSpc>
              <a:buFont typeface="Wingdings" panose="05000000000000000000" pitchFamily="2" charset="2"/>
              <a:buChar char="§"/>
            </a:pPr>
            <a:endParaRPr lang="en-US" sz="1467" dirty="0">
              <a:latin typeface="Arial" panose="020B0604020202020204" pitchFamily="34" charset="0"/>
              <a:cs typeface="Arial" panose="020B0604020202020204" pitchFamily="34" charset="0"/>
            </a:endParaRPr>
          </a:p>
          <a:p>
            <a:pPr>
              <a:lnSpc>
                <a:spcPct val="110000"/>
              </a:lnSpc>
              <a:buFont typeface="Wingdings" panose="05000000000000000000" pitchFamily="2" charset="2"/>
              <a:buChar char="§"/>
            </a:pPr>
            <a:r>
              <a:rPr lang="en-GB" sz="2000" dirty="0">
                <a:latin typeface="Arial" panose="020B0604020202020204" pitchFamily="34" charset="0"/>
                <a:cs typeface="Arial" panose="020B0604020202020204" pitchFamily="34" charset="0"/>
              </a:rPr>
              <a:t>Prof. Michael Grieves at University of Michigan defined </a:t>
            </a:r>
            <a:r>
              <a:rPr lang="en-US" sz="2000" dirty="0">
                <a:latin typeface="Arial" panose="020B0604020202020204" pitchFamily="34" charset="0"/>
                <a:cs typeface="Arial" panose="020B0604020202020204" pitchFamily="34" charset="0"/>
              </a:rPr>
              <a:t>a DT comprises </a:t>
            </a:r>
            <a:r>
              <a:rPr lang="en-US" sz="2000" b="1" dirty="0">
                <a:latin typeface="Arial" panose="020B0604020202020204" pitchFamily="34" charset="0"/>
                <a:cs typeface="Arial" panose="020B0604020202020204" pitchFamily="34" charset="0"/>
              </a:rPr>
              <a:t>three dimensions</a:t>
            </a:r>
            <a:r>
              <a:rPr lang="en-US" sz="2000" dirty="0">
                <a:latin typeface="Arial" panose="020B0604020202020204" pitchFamily="34" charset="0"/>
                <a:cs typeface="Arial" panose="020B0604020202020204" pitchFamily="34" charset="0"/>
              </a:rPr>
              <a:t>: a physical product in real space, virtual product in virtual space and the required interconnection between these two. </a:t>
            </a:r>
          </a:p>
          <a:p>
            <a:pPr>
              <a:lnSpc>
                <a:spcPct val="110000"/>
              </a:lnSpc>
              <a:buFont typeface="Wingdings" panose="05000000000000000000" pitchFamily="2" charset="2"/>
              <a:buChar char="§"/>
            </a:pPr>
            <a:endParaRPr lang="en-US" sz="1900" i="1" dirty="0">
              <a:latin typeface="Arial" panose="020B0604020202020204" pitchFamily="34" charset="0"/>
              <a:cs typeface="Arial" panose="020B0604020202020204" pitchFamily="34" charset="0"/>
            </a:endParaRPr>
          </a:p>
          <a:p>
            <a:pPr>
              <a:lnSpc>
                <a:spcPct val="110000"/>
              </a:lnSpc>
              <a:buFont typeface="Wingdings" panose="05000000000000000000" pitchFamily="2" charset="2"/>
              <a:buChar char="§"/>
            </a:pPr>
            <a:endParaRPr lang="en-US" sz="1900" i="1" dirty="0">
              <a:latin typeface="Arial" panose="020B0604020202020204" pitchFamily="34" charset="0"/>
              <a:cs typeface="Arial" panose="020B0604020202020204" pitchFamily="34" charset="0"/>
            </a:endParaRPr>
          </a:p>
          <a:p>
            <a:pPr marL="0" indent="0">
              <a:buNone/>
            </a:pPr>
            <a:endParaRPr lang="en-US" sz="1800" dirty="0"/>
          </a:p>
        </p:txBody>
      </p:sp>
      <p:pic>
        <p:nvPicPr>
          <p:cNvPr id="3080" name="Picture 8" descr="Digitalization: Trust - The Keystone for Digital Transformation">
            <a:extLst>
              <a:ext uri="{FF2B5EF4-FFF2-40B4-BE49-F238E27FC236}">
                <a16:creationId xmlns:a16="http://schemas.microsoft.com/office/drawing/2014/main" id="{755106FA-9FD6-4865-BD7A-7E049965668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758257" y="4001120"/>
            <a:ext cx="3890248" cy="2591334"/>
          </a:xfrm>
          <a:prstGeom prst="rect">
            <a:avLst/>
          </a:prstGeom>
          <a:noFill/>
          <a:extLst>
            <a:ext uri="{909E8E84-426E-40DD-AFC4-6F175D3DCCD1}">
              <a14:hiddenFill xmlns:a14="http://schemas.microsoft.com/office/drawing/2010/main">
                <a:solidFill>
                  <a:srgbClr val="FFFFFF"/>
                </a:solidFill>
              </a14:hiddenFill>
            </a:ext>
          </a:extLst>
        </p:spPr>
      </p:pic>
      <p:sp>
        <p:nvSpPr>
          <p:cNvPr id="5" name="AutoShape 10" descr="What Is a Digital Twin And How Does It Work?">
            <a:extLst>
              <a:ext uri="{FF2B5EF4-FFF2-40B4-BE49-F238E27FC236}">
                <a16:creationId xmlns:a16="http://schemas.microsoft.com/office/drawing/2014/main" id="{ADF8557D-1AB5-443F-B110-F111C525CAE2}"/>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pic>
        <p:nvPicPr>
          <p:cNvPr id="3090" name="Picture 18" descr="What is Digital Twin Software">
            <a:extLst>
              <a:ext uri="{FF2B5EF4-FFF2-40B4-BE49-F238E27FC236}">
                <a16:creationId xmlns:a16="http://schemas.microsoft.com/office/drawing/2014/main" id="{95321200-D0F6-456B-959C-07526942034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077212" y="3916612"/>
            <a:ext cx="3985532" cy="27603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5346450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2" name="Object 41" hidden="1">
            <a:extLst>
              <a:ext uri="{FF2B5EF4-FFF2-40B4-BE49-F238E27FC236}">
                <a16:creationId xmlns:a16="http://schemas.microsoft.com/office/drawing/2014/main" id="{301463C9-2282-4A0F-819B-75374BE71C9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42" name="Object 41" hidden="1">
                        <a:extLst>
                          <a:ext uri="{FF2B5EF4-FFF2-40B4-BE49-F238E27FC236}">
                            <a16:creationId xmlns:a16="http://schemas.microsoft.com/office/drawing/2014/main" id="{301463C9-2282-4A0F-819B-75374BE71C9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6" name="Rectangle 45" hidden="1">
            <a:extLst>
              <a:ext uri="{FF2B5EF4-FFF2-40B4-BE49-F238E27FC236}">
                <a16:creationId xmlns:a16="http://schemas.microsoft.com/office/drawing/2014/main" id="{CADF9BBE-ADA6-4A36-A7C9-EC1296DE314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dirty="0">
              <a:latin typeface="Arial" panose="020B0604020202020204" pitchFamily="34" charset="0"/>
              <a:ea typeface="+mj-ea"/>
              <a:cs typeface="Arial" panose="020B0604020202020204" pitchFamily="34" charset="0"/>
              <a:sym typeface="Arial" panose="020B0604020202020204" pitchFamily="34" charset="0"/>
            </a:endParaRPr>
          </a:p>
        </p:txBody>
      </p:sp>
      <p:cxnSp>
        <p:nvCxnSpPr>
          <p:cNvPr id="43" name="Straight Connector 17">
            <a:extLst>
              <a:ext uri="{FF2B5EF4-FFF2-40B4-BE49-F238E27FC236}">
                <a16:creationId xmlns:a16="http://schemas.microsoft.com/office/drawing/2014/main" id="{D619BC49-E4EF-4BC0-B474-609F75846915}"/>
              </a:ext>
            </a:extLst>
          </p:cNvPr>
          <p:cNvCxnSpPr>
            <a:cxnSpLocks/>
          </p:cNvCxnSpPr>
          <p:nvPr/>
        </p:nvCxnSpPr>
        <p:spPr>
          <a:xfrm>
            <a:off x="1659750" y="1181906"/>
            <a:ext cx="997751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5" name="Titel 1">
            <a:extLst>
              <a:ext uri="{FF2B5EF4-FFF2-40B4-BE49-F238E27FC236}">
                <a16:creationId xmlns:a16="http://schemas.microsoft.com/office/drawing/2014/main" id="{ABE05CC7-87A9-4E18-AEA7-3CFE48FBF726}"/>
              </a:ext>
            </a:extLst>
          </p:cNvPr>
          <p:cNvSpPr>
            <a:spLocks noGrp="1"/>
          </p:cNvSpPr>
          <p:nvPr>
            <p:ph type="title"/>
          </p:nvPr>
        </p:nvSpPr>
        <p:spPr>
          <a:xfrm>
            <a:off x="1659750" y="372123"/>
            <a:ext cx="9977511" cy="677691"/>
          </a:xfrm>
        </p:spPr>
        <p:txBody>
          <a:bodyPr>
            <a:noAutofit/>
          </a:bodyPr>
          <a:lstStyle/>
          <a:p>
            <a:br>
              <a:rPr lang="nb-NO" sz="2400" dirty="0">
                <a:solidFill>
                  <a:srgbClr val="01509E"/>
                </a:solidFill>
              </a:rPr>
            </a:br>
            <a:r>
              <a:rPr lang="nb-NO" sz="2400" dirty="0">
                <a:solidFill>
                  <a:srgbClr val="01509E"/>
                </a:solidFill>
              </a:rPr>
              <a:t>Introduction</a:t>
            </a:r>
            <a:br>
              <a:rPr lang="nb-NO" sz="2400" dirty="0">
                <a:solidFill>
                  <a:srgbClr val="01509E"/>
                </a:solidFill>
              </a:rPr>
            </a:br>
            <a:r>
              <a:rPr lang="nb-NO" sz="2000" b="0" dirty="0" err="1">
                <a:solidFill>
                  <a:schemeClr val="bg1">
                    <a:lumMod val="50000"/>
                  </a:schemeClr>
                </a:solidFill>
              </a:rPr>
              <a:t>history</a:t>
            </a:r>
            <a:r>
              <a:rPr lang="nb-NO" sz="2000" b="0" dirty="0">
                <a:solidFill>
                  <a:schemeClr val="bg1">
                    <a:lumMod val="50000"/>
                  </a:schemeClr>
                </a:solidFill>
              </a:rPr>
              <a:t> </a:t>
            </a:r>
            <a:r>
              <a:rPr lang="nb-NO" sz="2000" b="0" dirty="0" err="1">
                <a:solidFill>
                  <a:schemeClr val="bg1">
                    <a:lumMod val="50000"/>
                  </a:schemeClr>
                </a:solidFill>
              </a:rPr>
              <a:t>of</a:t>
            </a:r>
            <a:r>
              <a:rPr lang="nb-NO" sz="2000" b="0" dirty="0">
                <a:solidFill>
                  <a:schemeClr val="bg1">
                    <a:lumMod val="50000"/>
                  </a:schemeClr>
                </a:solidFill>
              </a:rPr>
              <a:t> DT</a:t>
            </a:r>
            <a:br>
              <a:rPr lang="en-US" sz="2400" dirty="0">
                <a:latin typeface="Arial" panose="020B0604020202020204" pitchFamily="34" charset="0"/>
                <a:cs typeface="Arial" panose="020B0604020202020204" pitchFamily="34" charset="0"/>
              </a:rPr>
            </a:br>
            <a:endParaRPr lang="en-US" sz="2400" b="0" dirty="0">
              <a:latin typeface="Arial" panose="020B0604020202020204" pitchFamily="34" charset="0"/>
              <a:cs typeface="Arial" panose="020B0604020202020204" pitchFamily="34" charset="0"/>
            </a:endParaRPr>
          </a:p>
        </p:txBody>
      </p:sp>
      <p:sp>
        <p:nvSpPr>
          <p:cNvPr id="7" name="Plassholder for innhold 2">
            <a:extLst>
              <a:ext uri="{FF2B5EF4-FFF2-40B4-BE49-F238E27FC236}">
                <a16:creationId xmlns:a16="http://schemas.microsoft.com/office/drawing/2014/main" id="{63991A79-2DF5-4987-8986-F8B6237BF2C9}"/>
              </a:ext>
            </a:extLst>
          </p:cNvPr>
          <p:cNvSpPr>
            <a:spLocks noGrp="1"/>
          </p:cNvSpPr>
          <p:nvPr>
            <p:ph idx="1"/>
          </p:nvPr>
        </p:nvSpPr>
        <p:spPr>
          <a:xfrm>
            <a:off x="1659748" y="1181905"/>
            <a:ext cx="10309095" cy="4884155"/>
          </a:xfrm>
        </p:spPr>
        <p:txBody>
          <a:bodyPr>
            <a:normAutofit/>
          </a:bodyPr>
          <a:lstStyle/>
          <a:p>
            <a:pPr>
              <a:lnSpc>
                <a:spcPct val="110000"/>
              </a:lnSpc>
              <a:buFont typeface="Wingdings" panose="05000000000000000000" pitchFamily="2" charset="2"/>
              <a:buChar char="§"/>
            </a:pPr>
            <a:r>
              <a:rPr lang="en-US" sz="2000" dirty="0">
                <a:latin typeface="Arial" panose="020B0604020202020204" pitchFamily="34" charset="0"/>
                <a:cs typeface="Arial" panose="020B0604020202020204" pitchFamily="34" charset="0"/>
              </a:rPr>
              <a:t>In 2002, Dr Michael Grieves from the University of Michigan introduces the concept of digital twin within product lifecycle management.</a:t>
            </a:r>
          </a:p>
          <a:p>
            <a:pPr>
              <a:lnSpc>
                <a:spcPct val="110000"/>
              </a:lnSpc>
              <a:buFont typeface="Wingdings" panose="05000000000000000000" pitchFamily="2" charset="2"/>
              <a:buChar char="§"/>
            </a:pPr>
            <a:r>
              <a:rPr lang="en-US" sz="2000" dirty="0">
                <a:latin typeface="Arial" panose="020B0604020202020204" pitchFamily="34" charset="0"/>
                <a:cs typeface="Arial" panose="020B0604020202020204" pitchFamily="34" charset="0"/>
              </a:rPr>
              <a:t>In 2012, the NASA was one of the first to use this technology for space exploration missions. </a:t>
            </a:r>
            <a:r>
              <a:rPr lang="en-US" sz="1600" i="1" dirty="0">
                <a:latin typeface="Arial" panose="020B0604020202020204" pitchFamily="34" charset="0"/>
                <a:cs typeface="Arial" panose="020B0604020202020204" pitchFamily="34" charset="0"/>
              </a:rPr>
              <a:t>“(..) an integrated </a:t>
            </a:r>
            <a:r>
              <a:rPr lang="en-US" sz="1600" i="1" dirty="0" err="1">
                <a:latin typeface="Arial" panose="020B0604020202020204" pitchFamily="34" charset="0"/>
                <a:cs typeface="Arial" panose="020B0604020202020204" pitchFamily="34" charset="0"/>
              </a:rPr>
              <a:t>multiphysics</a:t>
            </a:r>
            <a:r>
              <a:rPr lang="en-US" sz="1600" i="1" dirty="0">
                <a:latin typeface="Arial" panose="020B0604020202020204" pitchFamily="34" charset="0"/>
                <a:cs typeface="Arial" panose="020B0604020202020204" pitchFamily="34" charset="0"/>
              </a:rPr>
              <a:t>, multiscale simulation of a vehicle or system that uses the best available physical models, sensor updates, fleet history, etc., to mirror the life of its corresponding flying twin”.</a:t>
            </a:r>
          </a:p>
          <a:p>
            <a:pPr>
              <a:lnSpc>
                <a:spcPct val="110000"/>
              </a:lnSpc>
              <a:buFont typeface="Wingdings" panose="05000000000000000000" pitchFamily="2" charset="2"/>
              <a:buChar char="§"/>
            </a:pPr>
            <a:r>
              <a:rPr lang="en-US" sz="2000" dirty="0">
                <a:latin typeface="Arial" panose="020B0604020202020204" pitchFamily="34" charset="0"/>
                <a:cs typeface="Arial" panose="020B0604020202020204" pitchFamily="34" charset="0"/>
              </a:rPr>
              <a:t>In 2014, the DTs have grown from conceptual idea to numerous practical applications.</a:t>
            </a:r>
          </a:p>
          <a:p>
            <a:pPr marL="0" indent="0">
              <a:lnSpc>
                <a:spcPct val="110000"/>
              </a:lnSpc>
              <a:buNone/>
            </a:pPr>
            <a:endParaRPr lang="en-US" sz="2000" dirty="0">
              <a:latin typeface="Arial" panose="020B0604020202020204" pitchFamily="34" charset="0"/>
              <a:cs typeface="Arial" panose="020B0604020202020204" pitchFamily="34" charset="0"/>
            </a:endParaRPr>
          </a:p>
          <a:p>
            <a:pPr>
              <a:lnSpc>
                <a:spcPct val="110000"/>
              </a:lnSpc>
              <a:buFont typeface="Wingdings" panose="05000000000000000000" pitchFamily="2" charset="2"/>
              <a:buChar char="§"/>
            </a:pPr>
            <a:endParaRPr lang="en-US" sz="1900" dirty="0">
              <a:latin typeface="Arial" panose="020B0604020202020204" pitchFamily="34" charset="0"/>
              <a:cs typeface="Arial" panose="020B0604020202020204" pitchFamily="34" charset="0"/>
            </a:endParaRPr>
          </a:p>
          <a:p>
            <a:pPr>
              <a:lnSpc>
                <a:spcPct val="110000"/>
              </a:lnSpc>
              <a:buFont typeface="Wingdings" panose="05000000000000000000" pitchFamily="2" charset="2"/>
              <a:buChar char="§"/>
            </a:pPr>
            <a:endParaRPr lang="en-US" sz="1900" dirty="0">
              <a:latin typeface="Arial" panose="020B0604020202020204" pitchFamily="34" charset="0"/>
              <a:cs typeface="Arial" panose="020B0604020202020204" pitchFamily="34" charset="0"/>
            </a:endParaRPr>
          </a:p>
          <a:p>
            <a:pPr marL="0" indent="0">
              <a:buNone/>
            </a:pPr>
            <a:endParaRPr lang="en-US" sz="1800" dirty="0"/>
          </a:p>
        </p:txBody>
      </p:sp>
      <p:pic>
        <p:nvPicPr>
          <p:cNvPr id="3" name="Picture 2">
            <a:extLst>
              <a:ext uri="{FF2B5EF4-FFF2-40B4-BE49-F238E27FC236}">
                <a16:creationId xmlns:a16="http://schemas.microsoft.com/office/drawing/2014/main" id="{A0CAA4C5-B4C0-4DEB-A2C8-AAD069C65A2F}"/>
              </a:ext>
            </a:extLst>
          </p:cNvPr>
          <p:cNvPicPr>
            <a:picLocks noChangeAspect="1"/>
          </p:cNvPicPr>
          <p:nvPr/>
        </p:nvPicPr>
        <p:blipFill>
          <a:blip r:embed="rId7"/>
          <a:stretch>
            <a:fillRect/>
          </a:stretch>
        </p:blipFill>
        <p:spPr>
          <a:xfrm>
            <a:off x="3517103" y="3630508"/>
            <a:ext cx="5157794" cy="3128849"/>
          </a:xfrm>
          <a:prstGeom prst="rect">
            <a:avLst/>
          </a:prstGeom>
        </p:spPr>
      </p:pic>
      <p:sp>
        <p:nvSpPr>
          <p:cNvPr id="2" name="Speech Bubble: Oval 1">
            <a:extLst>
              <a:ext uri="{FF2B5EF4-FFF2-40B4-BE49-F238E27FC236}">
                <a16:creationId xmlns:a16="http://schemas.microsoft.com/office/drawing/2014/main" id="{BE1BB79F-0112-4903-93E8-31490FE8B079}"/>
              </a:ext>
            </a:extLst>
          </p:cNvPr>
          <p:cNvSpPr/>
          <p:nvPr/>
        </p:nvSpPr>
        <p:spPr>
          <a:xfrm>
            <a:off x="9249311" y="4135659"/>
            <a:ext cx="2565882" cy="1286933"/>
          </a:xfrm>
          <a:prstGeom prst="wedgeEllipseCallout">
            <a:avLst>
              <a:gd name="adj1" fmla="val -48221"/>
              <a:gd name="adj2" fmla="val 56579"/>
            </a:avLst>
          </a:prstGeom>
          <a:solidFill>
            <a:schemeClr val="tx2">
              <a:lumMod val="20000"/>
              <a:lumOff val="80000"/>
            </a:schemeClr>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600" dirty="0">
                <a:solidFill>
                  <a:schemeClr val="tx1"/>
                </a:solidFill>
              </a:rPr>
              <a:t>One of most promising technological trends in the next decade.</a:t>
            </a:r>
          </a:p>
        </p:txBody>
      </p:sp>
    </p:spTree>
    <p:extLst>
      <p:ext uri="{BB962C8B-B14F-4D97-AF65-F5344CB8AC3E}">
        <p14:creationId xmlns:p14="http://schemas.microsoft.com/office/powerpoint/2010/main" val="7840371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Ul9AL8Ei3q.RCoJBhowly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Ul9AL8Ei3q.RCoJBhowly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Ul9AL8Ei3q.RCoJBhowly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Ul9AL8Ei3q.RCoJBhowly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Ul9AL8Ei3q.RCoJBhowly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Ul9AL8Ei3q.RCoJBhowly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Ul9AL8Ei3q.RCoJBhowly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Ul9AL8Ei3q.RCoJBhowly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Ul9AL8Ei3q.RCoJBhowly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Ul9AL8Ei3q.RCoJBhowly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Ul9AL8Ei3q.RCoJBhowly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Ul9AL8Ei3q.RCoJBhowly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Ul9AL8Ei3q.RCoJBhowly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Ul9AL8Ei3q.RCoJBhowly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Ul9AL8Ei3q.RCoJBhowly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Ul9AL8Ei3q.RCoJBhowly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Ul9AL8Ei3q.RCoJBhowly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Ul9AL8Ei3q.RCoJBhowly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Ul9AL8Ei3q.RCoJBhowly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Ul9AL8Ei3q.RCoJBhowly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1486</Words>
  <Application>Microsoft Office PowerPoint</Application>
  <PresentationFormat>Widescreen</PresentationFormat>
  <Paragraphs>251</Paragraphs>
  <Slides>21</Slides>
  <Notes>21</Notes>
  <HiddenSlides>0</HiddenSlides>
  <MMClips>8</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28" baseType="lpstr">
      <vt:lpstr>Arial</vt:lpstr>
      <vt:lpstr>Calibri</vt:lpstr>
      <vt:lpstr>Open Sans</vt:lpstr>
      <vt:lpstr>Roboto</vt:lpstr>
      <vt:lpstr>Wingdings</vt:lpstr>
      <vt:lpstr>Office-tema</vt:lpstr>
      <vt:lpstr>think-cell Slide</vt:lpstr>
      <vt:lpstr>Practical applications in marine robotics   </vt:lpstr>
      <vt:lpstr>Outline</vt:lpstr>
      <vt:lpstr> Introduction Introduction of VP </vt:lpstr>
      <vt:lpstr> Introduction Introduction of VP </vt:lpstr>
      <vt:lpstr> Introduction Introduction of VP </vt:lpstr>
      <vt:lpstr> Introduction Introduction of VP </vt:lpstr>
      <vt:lpstr>PowerPoint Presentation</vt:lpstr>
      <vt:lpstr> Introduction What is it? </vt:lpstr>
      <vt:lpstr> Introduction history of DT </vt:lpstr>
      <vt:lpstr> Introduction Key technologies </vt:lpstr>
      <vt:lpstr> Introduction How the industries benefits from it? </vt:lpstr>
      <vt:lpstr> Application </vt:lpstr>
      <vt:lpstr> Application </vt:lpstr>
      <vt:lpstr> Application </vt:lpstr>
      <vt:lpstr> Application </vt:lpstr>
      <vt:lpstr> Application </vt:lpstr>
      <vt:lpstr> Application </vt:lpstr>
      <vt:lpstr> Application </vt:lpstr>
      <vt:lpstr> Application </vt:lpstr>
      <vt:lpstr> Application </vt:lpstr>
      <vt:lpstr> Application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tocols and Standards for Simulation and Co-simulation”  For Demanding Maritime Operations</dc:title>
  <dc:creator>Lars Ivar Hatledal</dc:creator>
  <cp:lastModifiedBy>Tongtong Wang</cp:lastModifiedBy>
  <cp:revision>1</cp:revision>
  <dcterms:created xsi:type="dcterms:W3CDTF">2021-03-10T10:27:20Z</dcterms:created>
  <dcterms:modified xsi:type="dcterms:W3CDTF">2022-09-05T12:10:07Z</dcterms:modified>
</cp:coreProperties>
</file>